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11" r:id="rId5"/>
  </p:sldMasterIdLst>
  <p:notesMasterIdLst>
    <p:notesMasterId r:id="rId8"/>
  </p:notesMasterIdLst>
  <p:handoutMasterIdLst>
    <p:handoutMasterId r:id="rId9"/>
  </p:handoutMasterIdLst>
  <p:sldIdLst>
    <p:sldId id="2147478955" r:id="rId6"/>
    <p:sldId id="2147478975" r:id="rId7"/>
  </p:sldIdLst>
  <p:sldSz cx="11520488" cy="6480175"/>
  <p:notesSz cx="6858000" cy="9144000"/>
  <p:custDataLst>
    <p:tags r:id="rId10"/>
  </p:custDataLst>
  <p:defaultTextStyle>
    <a:defPPr>
      <a:defRPr lang="de-DE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92EE10-1BD4-758C-3821-65845B7B8B99}" name="Anna Hees" initials="AH" userId="S::anna.hees@cofinity-x.com::4f7c700b-1f2d-4d34-9a12-3e4bc16fe375" providerId="AD"/>
  <p188:author id="{8F84E52C-5464-E818-7815-249FDA44FAC4}" name="Werner Roman FRD FIEA" initials="WRFF" userId="S::roman.werner@zf.com::179b31d7-4203-431e-8a87-3306d648d01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600"/>
    <a:srgbClr val="575757"/>
    <a:srgbClr val="D8D8D8"/>
    <a:srgbClr val="979797"/>
    <a:srgbClr val="FBA702"/>
    <a:srgbClr val="E1E3DE"/>
    <a:srgbClr val="F3F6CA"/>
    <a:srgbClr val="737A1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8D540D-41AC-4B40-811F-DBBEDC9F4615}" v="2" dt="2024-04-04T08:53:24.859"/>
    <p1510:client id="{2B3F8A2D-9327-FFA5-441D-48C757D1B3EF}" v="20" dt="2024-04-04T10:55:45.6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1032" y="26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no Focken" userId="07ddbd8f-7dc8-4c50-855e-1be4be0ab5a1" providerId="ADAL" clId="{19D41F2B-6BA6-114E-B740-D17E1A3D9609}"/>
    <pc:docChg chg="undo custSel addSld delSld modSld">
      <pc:chgData name="Hanno Focken" userId="07ddbd8f-7dc8-4c50-855e-1be4be0ab5a1" providerId="ADAL" clId="{19D41F2B-6BA6-114E-B740-D17E1A3D9609}" dt="2023-09-29T09:03:23.996" v="7" actId="14100"/>
      <pc:docMkLst>
        <pc:docMk/>
      </pc:docMkLst>
      <pc:sldChg chg="add del">
        <pc:chgData name="Hanno Focken" userId="07ddbd8f-7dc8-4c50-855e-1be4be0ab5a1" providerId="ADAL" clId="{19D41F2B-6BA6-114E-B740-D17E1A3D9609}" dt="2023-09-28T06:10:33.988" v="2" actId="2696"/>
        <pc:sldMkLst>
          <pc:docMk/>
          <pc:sldMk cId="2493062518" sldId="332"/>
        </pc:sldMkLst>
      </pc:sldChg>
      <pc:sldChg chg="modSp mod">
        <pc:chgData name="Hanno Focken" userId="07ddbd8f-7dc8-4c50-855e-1be4be0ab5a1" providerId="ADAL" clId="{19D41F2B-6BA6-114E-B740-D17E1A3D9609}" dt="2023-09-29T09:03:23.996" v="7" actId="14100"/>
        <pc:sldMkLst>
          <pc:docMk/>
          <pc:sldMk cId="4150881068" sldId="2147478950"/>
        </pc:sldMkLst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5" creationId="{44760164-D082-494E-52A5-62CF46B4CCD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6" creationId="{5E42BAFD-1232-8134-6859-2E16A354D3F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7" creationId="{EF8AC68E-F784-A489-D43C-8815F66F590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8" creationId="{A98219BD-FCA9-AC92-2E5C-45586DED114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0" creationId="{F2181D46-EB22-B1B8-6926-E65BE670685D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1" creationId="{0095A86F-766D-F2F4-BD84-10D783FD0E0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2" creationId="{B0159A5A-4414-DE81-12DE-D2E2E01C2EB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3" creationId="{536AB374-A5C4-993D-8F8C-63DA102A61C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4" creationId="{2179D842-7BB7-0D6D-BD11-1FD4DA2541F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5" creationId="{A92716DE-D63E-E8A5-C372-AE1950BAD7D8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6" creationId="{6E33FFCF-42BF-1AEB-D162-D8202CC5C47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7" creationId="{AA9E5D1E-2DC3-A303-63E3-B52E59E09D0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8" creationId="{3EDF14C0-CF9D-880D-CFF8-F4F8A534AC0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9" creationId="{6C02E498-B86E-CC90-BCB7-B25D731BF5C0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0" creationId="{12BF4F4C-6F8F-E29B-6A8E-59597A2F64C8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1" creationId="{C40D84AF-2DEB-A7C1-33E9-475B693AE72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2" creationId="{F729C5AF-9FB0-331D-D641-AB613A25779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4" creationId="{E50BC951-7A86-B226-D294-AB8678D253C0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5" creationId="{398A241B-E53E-50A2-5FA1-1DD57059EBA7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6" creationId="{BE377912-B014-C897-AE0D-F50CB7CB810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7" creationId="{DF81693C-19C2-E535-DB01-C89C60C5EFCA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8" creationId="{16F8CAD0-BBC3-B67A-F62A-EF2046C5F1C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0" creationId="{F47B8996-391D-114B-0A61-1F048705CA0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1" creationId="{181347A5-D458-0383-8C54-22015A699DE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7" creationId="{BCF312F9-8E2B-B497-F0A1-7C435DEC0916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8" creationId="{045D8A18-5FFC-8188-BC8F-F60100FE2D8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9" creationId="{7DD4F968-5D14-B467-65FE-18A80506448D}"/>
          </ac:spMkLst>
        </pc:spChg>
        <pc:spChg chg="mod">
          <ac:chgData name="Hanno Focken" userId="07ddbd8f-7dc8-4c50-855e-1be4be0ab5a1" providerId="ADAL" clId="{19D41F2B-6BA6-114E-B740-D17E1A3D9609}" dt="2023-09-29T09:03:23.996" v="7" actId="14100"/>
          <ac:spMkLst>
            <pc:docMk/>
            <pc:sldMk cId="4150881068" sldId="2147478950"/>
            <ac:spMk id="210" creationId="{E68D98DF-5C6C-32FC-99AE-DDA24A2E22D6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1" creationId="{634244C5-F9C5-7A8B-DF5F-701887C50E14}"/>
          </ac:spMkLst>
        </pc:spChg>
        <pc:spChg chg="mod">
          <ac:chgData name="Hanno Focken" userId="07ddbd8f-7dc8-4c50-855e-1be4be0ab5a1" providerId="ADAL" clId="{19D41F2B-6BA6-114E-B740-D17E1A3D9609}" dt="2023-09-29T09:02:49.318" v="6" actId="14100"/>
          <ac:spMkLst>
            <pc:docMk/>
            <pc:sldMk cId="4150881068" sldId="2147478950"/>
            <ac:spMk id="212" creationId="{0DDF00E7-032D-C16B-B94B-804644AD392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5" creationId="{11A97735-4490-75C5-B553-18BE99B1A79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6" creationId="{0B4B420B-D14F-7520-8F54-04C13CD6B8A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7" creationId="{09309181-BBCE-8F55-B39E-C89D8D2F85E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8" creationId="{D67A0011-F5B8-BBC9-2DBA-8541F421C49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2" creationId="{7A8B637C-9D28-0C92-A421-92356489B837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3" creationId="{87944A7B-2FE7-27E4-4876-E180406377E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4" creationId="{BC98BBBB-6961-8684-069C-13EEC08D7F8A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5" creationId="{A254AF7D-F138-0FF6-D869-87BF9364A9E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6" creationId="{8991DB85-40CE-8585-D930-B58E31394FF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7" creationId="{073218E2-A855-4746-E1A3-F40880C0BF3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8" creationId="{452E8975-6BA6-C154-E236-8F9C2F701DC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0" creationId="{1F602A78-C6C5-C38D-D974-72512A7EEAB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1" creationId="{C7014AFA-C52A-8DB2-0642-86ECDB780ED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3" creationId="{836593DC-B4FD-2149-FB04-BE49749F130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6" creationId="{1A086FC5-FC3A-D0D2-E037-CBCEB92CAEE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7" creationId="{903327F9-C3EF-7881-3255-BD0FF1F0248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0" creationId="{19617544-45D3-772D-15EC-174ECB83F72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1" creationId="{C6D801B4-D767-ACFE-219F-945FD59EACB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2" creationId="{A64BA04D-37D8-9FDA-82B1-C5E810604EA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3" creationId="{040BE928-DF26-3EB6-F09E-434631BC0D3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4" creationId="{9EE7380E-4A3E-A738-A4E3-8097E72F187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5" creationId="{951DA544-85FD-F53C-0012-966F9D29D8B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7" creationId="{19A6E2FE-1E87-C62E-F622-45C97EA2109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0" creationId="{46CC7317-75D6-2416-1A04-40C66C5170A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3" creationId="{AF7D8254-1281-6889-FFFA-BEF883847FB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5" creationId="{17AB39E3-8982-3262-3A33-68EA0F903D0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6" creationId="{F69C3EE8-1799-0B8E-ACDB-FA168F91623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7" creationId="{0DF5F847-1964-0E8C-097C-C9CBE90DC4F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8" creationId="{6EC92F4A-6B14-5F2B-0FFA-0A5E583BB41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9" creationId="{A535C756-3745-D13F-F55D-91454D749B7F}"/>
          </ac:spMkLst>
        </pc:s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46" creationId="{8E9A4689-AA96-8820-D6D5-3156B7341C1C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49" creationId="{4787F6A2-5D0F-11C9-1D29-95248A72A11C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52" creationId="{0B2D9AB3-23CC-8701-C626-6EED60A6FCE0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60" creationId="{622AFD81-F965-7DF8-8407-33ACB3352209}"/>
          </ac:grpSpMkLst>
        </pc:grp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19" creationId="{5129E8F9-33A9-FC5E-336F-75830FF1C381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20" creationId="{9CA9F040-C30D-337E-CA40-B670F1E2EF20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21" creationId="{3CFDD541-1801-DEAB-C875-FF733038B2E7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39" creationId="{7FEA9244-EE95-C247-9ED2-DC3D92DC1A49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48" creationId="{29D1E569-F517-F271-2250-1D35CC1D6AB7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51" creationId="{2A1592DC-DDE5-219F-6FA1-087027761684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54" creationId="{53A81C2F-2675-BD84-863F-1C6BA4D905B0}"/>
          </ac:picMkLst>
        </pc:pic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79" creationId="{921C0E8B-86DB-E5B3-1329-DEE22EF6F00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93" creationId="{16A2606B-2308-EFAC-5B00-CAF1656259B7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99" creationId="{1AA59A95-3254-D3B2-4041-3F16FD05C82E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2" creationId="{574B2C23-38CB-2004-6852-55D061647087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3" creationId="{78F562B5-A306-ED60-4477-85A762D0B74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4" creationId="{7B99E3C1-81FD-DAD1-FD56-CF4C365DB375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5" creationId="{8BACEC6E-CC5C-7B33-D04A-405B96AD96DA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6" creationId="{929D6AE4-258E-E3BA-34F3-1A8B61CAFA96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13" creationId="{BCBE51E6-24A0-2F28-2ED9-25AEDDB12328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14" creationId="{A08B1692-6CDD-D591-D4A0-D422723AEB3C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29" creationId="{BA365289-67EB-848D-2F7D-644C0083DB25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2" creationId="{471F6D81-E36A-790D-D92B-6E88202C953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4" creationId="{E3EF375D-6352-7D01-B7AB-D41261FCC4D9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5" creationId="{93EACC13-148C-4A6C-0FED-B86061E34161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8" creationId="{B623F54F-0B1C-F7DE-B081-339B1CDE39C0}"/>
          </ac:cxnSpMkLst>
        </pc:cxnChg>
      </pc:sldChg>
      <pc:sldChg chg="delSp mod">
        <pc:chgData name="Hanno Focken" userId="07ddbd8f-7dc8-4c50-855e-1be4be0ab5a1" providerId="ADAL" clId="{19D41F2B-6BA6-114E-B740-D17E1A3D9609}" dt="2023-09-26T12:27:21.371" v="0" actId="478"/>
        <pc:sldMkLst>
          <pc:docMk/>
          <pc:sldMk cId="2521528573" sldId="2147478965"/>
        </pc:sldMkLst>
        <pc:spChg chg="del">
          <ac:chgData name="Hanno Focken" userId="07ddbd8f-7dc8-4c50-855e-1be4be0ab5a1" providerId="ADAL" clId="{19D41F2B-6BA6-114E-B740-D17E1A3D9609}" dt="2023-09-26T12:27:21.371" v="0" actId="478"/>
          <ac:spMkLst>
            <pc:docMk/>
            <pc:sldMk cId="2521528573" sldId="2147478965"/>
            <ac:spMk id="5" creationId="{A27E9A14-D266-753D-1D5C-0B86688ED2DA}"/>
          </ac:spMkLst>
        </pc:spChg>
      </pc:sldChg>
    </pc:docChg>
  </pc:docChgLst>
  <pc:docChgLst>
    <pc:chgData name="Daniel Miehle" userId="S::daniel.miehle@catena-x.net::2ce2358f-c36f-469f-83f1-b89f40834cc8" providerId="AD" clId="Web-{2B3F8A2D-9327-FFA5-441D-48C757D1B3EF}"/>
    <pc:docChg chg="addSld modSld">
      <pc:chgData name="Daniel Miehle" userId="S::daniel.miehle@catena-x.net::2ce2358f-c36f-469f-83f1-b89f40834cc8" providerId="AD" clId="Web-{2B3F8A2D-9327-FFA5-441D-48C757D1B3EF}" dt="2024-04-04T10:55:45.668" v="17" actId="20577"/>
      <pc:docMkLst>
        <pc:docMk/>
      </pc:docMkLst>
      <pc:sldChg chg="addSp delSp modSp">
        <pc:chgData name="Daniel Miehle" userId="S::daniel.miehle@catena-x.net::2ce2358f-c36f-469f-83f1-b89f40834cc8" providerId="AD" clId="Web-{2B3F8A2D-9327-FFA5-441D-48C757D1B3EF}" dt="2024-04-04T10:54:40.417" v="2"/>
        <pc:sldMkLst>
          <pc:docMk/>
          <pc:sldMk cId="1632805154" sldId="2147478846"/>
        </pc:sldMkLst>
        <pc:spChg chg="add del mod">
          <ac:chgData name="Daniel Miehle" userId="S::daniel.miehle@catena-x.net::2ce2358f-c36f-469f-83f1-b89f40834cc8" providerId="AD" clId="Web-{2B3F8A2D-9327-FFA5-441D-48C757D1B3EF}" dt="2024-04-04T10:54:40.417" v="2"/>
          <ac:spMkLst>
            <pc:docMk/>
            <pc:sldMk cId="1632805154" sldId="2147478846"/>
            <ac:spMk id="5" creationId="{7F8DC2D2-7DCC-7F4D-AA6D-DEC7B5CCC13F}"/>
          </ac:spMkLst>
        </pc:spChg>
      </pc:sldChg>
      <pc:sldChg chg="modSp">
        <pc:chgData name="Daniel Miehle" userId="S::daniel.miehle@catena-x.net::2ce2358f-c36f-469f-83f1-b89f40834cc8" providerId="AD" clId="Web-{2B3F8A2D-9327-FFA5-441D-48C757D1B3EF}" dt="2024-04-04T10:55:31.136" v="15" actId="20577"/>
        <pc:sldMkLst>
          <pc:docMk/>
          <pc:sldMk cId="563177715" sldId="2147478960"/>
        </pc:sldMkLst>
        <pc:spChg chg="mod">
          <ac:chgData name="Daniel Miehle" userId="S::daniel.miehle@catena-x.net::2ce2358f-c36f-469f-83f1-b89f40834cc8" providerId="AD" clId="Web-{2B3F8A2D-9327-FFA5-441D-48C757D1B3EF}" dt="2024-04-04T10:55:31.136" v="15" actId="20577"/>
          <ac:spMkLst>
            <pc:docMk/>
            <pc:sldMk cId="563177715" sldId="2147478960"/>
            <ac:spMk id="2" creationId="{D5E426A1-FCE5-B851-4E8E-47D77FBD532F}"/>
          </ac:spMkLst>
        </pc:spChg>
      </pc:sldChg>
      <pc:sldChg chg="modSp add">
        <pc:chgData name="Daniel Miehle" userId="S::daniel.miehle@catena-x.net::2ce2358f-c36f-469f-83f1-b89f40834cc8" providerId="AD" clId="Web-{2B3F8A2D-9327-FFA5-441D-48C757D1B3EF}" dt="2024-04-04T10:55:45.668" v="17" actId="20577"/>
        <pc:sldMkLst>
          <pc:docMk/>
          <pc:sldMk cId="2452595415" sldId="2147478968"/>
        </pc:sldMkLst>
        <pc:spChg chg="mod">
          <ac:chgData name="Daniel Miehle" userId="S::daniel.miehle@catena-x.net::2ce2358f-c36f-469f-83f1-b89f40834cc8" providerId="AD" clId="Web-{2B3F8A2D-9327-FFA5-441D-48C757D1B3EF}" dt="2024-04-04T10:55:45.668" v="17" actId="20577"/>
          <ac:spMkLst>
            <pc:docMk/>
            <pc:sldMk cId="2452595415" sldId="2147478968"/>
            <ac:spMk id="2" creationId="{D5E426A1-FCE5-B851-4E8E-47D77FBD532F}"/>
          </ac:spMkLst>
        </pc:spChg>
        <pc:spChg chg="mod">
          <ac:chgData name="Daniel Miehle" userId="S::daniel.miehle@catena-x.net::2ce2358f-c36f-469f-83f1-b89f40834cc8" providerId="AD" clId="Web-{2B3F8A2D-9327-FFA5-441D-48C757D1B3EF}" dt="2024-04-04T10:55:09.793" v="4" actId="20577"/>
          <ac:spMkLst>
            <pc:docMk/>
            <pc:sldMk cId="2452595415" sldId="2147478968"/>
            <ac:spMk id="218" creationId="{924167B8-8D7A-2EA5-5DCC-4B8186D0F8CF}"/>
          </ac:spMkLst>
        </pc:spChg>
      </pc:sldChg>
    </pc:docChg>
  </pc:docChgLst>
  <pc:docChgLst>
    <pc:chgData name="Werner Roman FRD FIEA" userId="179b31d7-4203-431e-8a87-3306d648d012" providerId="ADAL" clId="{2D18474D-B58F-4D8F-B27F-390D4D96BD6C}"/>
    <pc:docChg chg="undo custSel addSld delSld modSld">
      <pc:chgData name="Werner Roman FRD FIEA" userId="179b31d7-4203-431e-8a87-3306d648d012" providerId="ADAL" clId="{2D18474D-B58F-4D8F-B27F-390D4D96BD6C}" dt="2023-10-06T11:52:00.989" v="164" actId="1035"/>
      <pc:docMkLst>
        <pc:docMk/>
      </pc:docMkLst>
      <pc:sldChg chg="delSp add mod">
        <pc:chgData name="Werner Roman FRD FIEA" userId="179b31d7-4203-431e-8a87-3306d648d012" providerId="ADAL" clId="{2D18474D-B58F-4D8F-B27F-390D4D96BD6C}" dt="2023-09-25T15:22:51.565" v="2" actId="478"/>
        <pc:sldMkLst>
          <pc:docMk/>
          <pc:sldMk cId="563177715" sldId="2147478960"/>
        </pc:sldMkLst>
        <pc:spChg chg="del">
          <ac:chgData name="Werner Roman FRD FIEA" userId="179b31d7-4203-431e-8a87-3306d648d012" providerId="ADAL" clId="{2D18474D-B58F-4D8F-B27F-390D4D96BD6C}" dt="2023-09-25T15:22:51.565" v="2" actId="478"/>
          <ac:spMkLst>
            <pc:docMk/>
            <pc:sldMk cId="563177715" sldId="2147478960"/>
            <ac:spMk id="9" creationId="{1DBE3300-227A-DC7D-0979-0B77DDACB5CD}"/>
          </ac:spMkLst>
        </pc:spChg>
      </pc:sldChg>
      <pc:sldChg chg="del">
        <pc:chgData name="Werner Roman FRD FIEA" userId="179b31d7-4203-431e-8a87-3306d648d012" providerId="ADAL" clId="{2D18474D-B58F-4D8F-B27F-390D4D96BD6C}" dt="2023-09-25T15:22:48.923" v="1" actId="47"/>
        <pc:sldMkLst>
          <pc:docMk/>
          <pc:sldMk cId="2677700689" sldId="2147478961"/>
        </pc:sldMkLst>
      </pc:sldChg>
      <pc:sldChg chg="modSp mod">
        <pc:chgData name="Werner Roman FRD FIEA" userId="179b31d7-4203-431e-8a87-3306d648d012" providerId="ADAL" clId="{2D18474D-B58F-4D8F-B27F-390D4D96BD6C}" dt="2023-10-06T11:52:00.989" v="164" actId="1035"/>
        <pc:sldMkLst>
          <pc:docMk/>
          <pc:sldMk cId="3185605821" sldId="2147478962"/>
        </pc:sldMkLst>
        <pc:spChg chg="mod">
          <ac:chgData name="Werner Roman FRD FIEA" userId="179b31d7-4203-431e-8a87-3306d648d012" providerId="ADAL" clId="{2D18474D-B58F-4D8F-B27F-390D4D96BD6C}" dt="2023-10-06T11:52:00.989" v="164" actId="1035"/>
          <ac:spMkLst>
            <pc:docMk/>
            <pc:sldMk cId="3185605821" sldId="2147478962"/>
            <ac:spMk id="7" creationId="{2EF47E01-B3CE-E740-466F-C61F99069165}"/>
          </ac:spMkLst>
        </pc:spChg>
      </pc:sldChg>
      <pc:sldChg chg="addSp delSp modSp add mod addCm delCm modCm">
        <pc:chgData name="Werner Roman FRD FIEA" userId="179b31d7-4203-431e-8a87-3306d648d012" providerId="ADAL" clId="{2D18474D-B58F-4D8F-B27F-390D4D96BD6C}" dt="2023-10-04T14:44:08.748" v="162" actId="20577"/>
        <pc:sldMkLst>
          <pc:docMk/>
          <pc:sldMk cId="3228577685" sldId="2147478967"/>
        </pc:sldMkLst>
        <pc:spChg chg="mod">
          <ac:chgData name="Werner Roman FRD FIEA" userId="179b31d7-4203-431e-8a87-3306d648d012" providerId="ADAL" clId="{2D18474D-B58F-4D8F-B27F-390D4D96BD6C}" dt="2023-10-04T14:11:43.290" v="20" actId="20577"/>
          <ac:spMkLst>
            <pc:docMk/>
            <pc:sldMk cId="3228577685" sldId="2147478967"/>
            <ac:spMk id="4" creationId="{74F025DB-E0BC-335E-FB4D-6BA13F62AC2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5" creationId="{00758E3E-542E-5B00-DF1D-1BD7B6B517E4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" creationId="{78C59F8C-BCA5-31CF-9945-4EA1695C79C5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8" creationId="{2446D433-A1D7-BDA5-2E34-7BB9A4D31735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" creationId="{98A5F7A6-9569-0051-3F92-56383D96A37A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1" creationId="{B5D52A5D-B715-7FDF-B7AF-0112FCDEC279}"/>
          </ac:spMkLst>
        </pc:spChg>
        <pc:spChg chg="add del mod">
          <ac:chgData name="Werner Roman FRD FIEA" userId="179b31d7-4203-431e-8a87-3306d648d012" providerId="ADAL" clId="{2D18474D-B58F-4D8F-B27F-390D4D96BD6C}" dt="2023-10-04T14:13:15.632" v="24" actId="478"/>
          <ac:spMkLst>
            <pc:docMk/>
            <pc:sldMk cId="3228577685" sldId="2147478967"/>
            <ac:spMk id="12" creationId="{2C1C9978-7FFB-2AB5-8294-E00712BFCCDB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3" creationId="{058C70AE-88C9-AB90-9C2B-95B15A71666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4" creationId="{0BF418D7-964F-D281-0DA1-44A94BD25541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6" creationId="{F21FA148-5B5A-5B3D-3068-0FF4536EB443}"/>
          </ac:spMkLst>
        </pc:spChg>
        <pc:spChg chg="mod">
          <ac:chgData name="Werner Roman FRD FIEA" userId="179b31d7-4203-431e-8a87-3306d648d012" providerId="ADAL" clId="{2D18474D-B58F-4D8F-B27F-390D4D96BD6C}" dt="2023-10-04T14:40:29.107" v="108" actId="164"/>
          <ac:spMkLst>
            <pc:docMk/>
            <pc:sldMk cId="3228577685" sldId="2147478967"/>
            <ac:spMk id="17" creationId="{70E2BC1A-527B-2124-4A29-124924FED3C3}"/>
          </ac:spMkLst>
        </pc:spChg>
        <pc:spChg chg="del mod ord">
          <ac:chgData name="Werner Roman FRD FIEA" userId="179b31d7-4203-431e-8a87-3306d648d012" providerId="ADAL" clId="{2D18474D-B58F-4D8F-B27F-390D4D96BD6C}" dt="2023-10-04T14:39:29.788" v="69" actId="478"/>
          <ac:spMkLst>
            <pc:docMk/>
            <pc:sldMk cId="3228577685" sldId="2147478967"/>
            <ac:spMk id="18" creationId="{D63F5843-A6FD-6811-1E17-9D4F3E3818C7}"/>
          </ac:spMkLst>
        </pc:spChg>
        <pc:spChg chg="mod">
          <ac:chgData name="Werner Roman FRD FIEA" userId="179b31d7-4203-431e-8a87-3306d648d012" providerId="ADAL" clId="{2D18474D-B58F-4D8F-B27F-390D4D96BD6C}" dt="2023-10-04T14:44:00.429" v="157" actId="20577"/>
          <ac:spMkLst>
            <pc:docMk/>
            <pc:sldMk cId="3228577685" sldId="2147478967"/>
            <ac:spMk id="21" creationId="{93C2AFD6-10A2-8E12-0713-69DD53B20B5F}"/>
          </ac:spMkLst>
        </pc:spChg>
        <pc:spChg chg="mod">
          <ac:chgData name="Werner Roman FRD FIEA" userId="179b31d7-4203-431e-8a87-3306d648d012" providerId="ADAL" clId="{2D18474D-B58F-4D8F-B27F-390D4D96BD6C}" dt="2023-10-04T14:44:08.748" v="162" actId="20577"/>
          <ac:spMkLst>
            <pc:docMk/>
            <pc:sldMk cId="3228577685" sldId="2147478967"/>
            <ac:spMk id="22" creationId="{CBDFEDC6-259C-56BD-323D-477306F61869}"/>
          </ac:spMkLst>
        </pc:spChg>
        <pc:spChg chg="del">
          <ac:chgData name="Werner Roman FRD FIEA" userId="179b31d7-4203-431e-8a87-3306d648d012" providerId="ADAL" clId="{2D18474D-B58F-4D8F-B27F-390D4D96BD6C}" dt="2023-10-04T14:14:44.536" v="58" actId="478"/>
          <ac:spMkLst>
            <pc:docMk/>
            <pc:sldMk cId="3228577685" sldId="2147478967"/>
            <ac:spMk id="23" creationId="{95B07E25-9A76-02E8-7080-10C91A561380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24" creationId="{4DB5316E-0271-4BD6-7791-BD8EFC1A39A6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25" creationId="{EEE1FD01-302A-2371-EBEF-2830E442F761}"/>
          </ac:spMkLst>
        </pc:spChg>
        <pc:spChg chg="add mod">
          <ac:chgData name="Werner Roman FRD FIEA" userId="179b31d7-4203-431e-8a87-3306d648d012" providerId="ADAL" clId="{2D18474D-B58F-4D8F-B27F-390D4D96BD6C}" dt="2023-10-04T14:14:56.946" v="60" actId="1076"/>
          <ac:spMkLst>
            <pc:docMk/>
            <pc:sldMk cId="3228577685" sldId="2147478967"/>
            <ac:spMk id="26" creationId="{7CFA4B4D-8DBA-9E8F-6A66-EEDF331F2553}"/>
          </ac:spMkLst>
        </pc:spChg>
        <pc:spChg chg="add mod">
          <ac:chgData name="Werner Roman FRD FIEA" userId="179b31d7-4203-431e-8a87-3306d648d012" providerId="ADAL" clId="{2D18474D-B58F-4D8F-B27F-390D4D96BD6C}" dt="2023-10-04T14:40:29.107" v="108" actId="164"/>
          <ac:spMkLst>
            <pc:docMk/>
            <pc:sldMk cId="3228577685" sldId="2147478967"/>
            <ac:spMk id="27" creationId="{5D7A8DBE-A9B8-2198-F692-E92DA59416AC}"/>
          </ac:spMkLst>
        </pc:spChg>
        <pc:spChg chg="add del mod">
          <ac:chgData name="Werner Roman FRD FIEA" userId="179b31d7-4203-431e-8a87-3306d648d012" providerId="ADAL" clId="{2D18474D-B58F-4D8F-B27F-390D4D96BD6C}" dt="2023-10-04T14:13:44.646" v="38" actId="21"/>
          <ac:spMkLst>
            <pc:docMk/>
            <pc:sldMk cId="3228577685" sldId="2147478967"/>
            <ac:spMk id="28" creationId="{3C25067B-6221-4F61-A336-9C71F57BB24E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0" creationId="{837EDE02-69D8-C1F1-E49B-A0E5004EAA3B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2" creationId="{0D027C56-EBDE-1F0C-194D-F5289A5C66B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3" creationId="{B005B1EC-3366-0D3A-EBD1-DD0C79D5E4C7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5" creationId="{B8BAD508-85D4-72AC-4312-E444AF4D84AE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7" creationId="{6C137AD1-65F6-60E4-0441-6C4ABC848068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40" creationId="{2CB55B8B-5285-E08C-0185-0D5ABD0B324F}"/>
          </ac:spMkLst>
        </pc:spChg>
        <pc:spChg chg="add mod">
          <ac:chgData name="Werner Roman FRD FIEA" userId="179b31d7-4203-431e-8a87-3306d648d012" providerId="ADAL" clId="{2D18474D-B58F-4D8F-B27F-390D4D96BD6C}" dt="2023-10-04T14:40:35.491" v="114" actId="14100"/>
          <ac:spMkLst>
            <pc:docMk/>
            <pc:sldMk cId="3228577685" sldId="2147478967"/>
            <ac:spMk id="41" creationId="{B14ADDC3-8506-DC30-F0F7-EFA0B41DEB4B}"/>
          </ac:spMkLst>
        </pc:spChg>
        <pc:spChg chg="add del mod">
          <ac:chgData name="Werner Roman FRD FIEA" userId="179b31d7-4203-431e-8a87-3306d648d012" providerId="ADAL" clId="{2D18474D-B58F-4D8F-B27F-390D4D96BD6C}" dt="2023-10-04T14:40:00.219" v="84" actId="478"/>
          <ac:spMkLst>
            <pc:docMk/>
            <pc:sldMk cId="3228577685" sldId="2147478967"/>
            <ac:spMk id="42" creationId="{2F885F81-E0B7-F10D-953D-D775E9CDCEF3}"/>
          </ac:spMkLst>
        </pc:spChg>
        <pc:spChg chg="add mod">
          <ac:chgData name="Werner Roman FRD FIEA" userId="179b31d7-4203-431e-8a87-3306d648d012" providerId="ADAL" clId="{2D18474D-B58F-4D8F-B27F-390D4D96BD6C}" dt="2023-10-04T14:41:13.145" v="138" actId="20577"/>
          <ac:spMkLst>
            <pc:docMk/>
            <pc:sldMk cId="3228577685" sldId="2147478967"/>
            <ac:spMk id="48" creationId="{0D72F51F-E155-7C1E-B942-361D66269686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49" creationId="{C9AEBFC1-040C-3FE1-5321-2F2DDD83CF2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57" creationId="{98D4562C-85D7-F4E4-9834-D4E6572DD5CA}"/>
          </ac:spMkLst>
        </pc:spChg>
        <pc:spChg chg="mod">
          <ac:chgData name="Werner Roman FRD FIEA" userId="179b31d7-4203-431e-8a87-3306d648d012" providerId="ADAL" clId="{2D18474D-B58F-4D8F-B27F-390D4D96BD6C}" dt="2023-10-04T14:42:27.168" v="151" actId="20577"/>
          <ac:spMkLst>
            <pc:docMk/>
            <pc:sldMk cId="3228577685" sldId="2147478967"/>
            <ac:spMk id="60" creationId="{D90F85CD-6C68-CB80-FF34-C7021BAEA687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4" creationId="{B28F2A7E-248A-3075-228B-932627DA90F8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9" creationId="{F4F40D9F-CCE3-B2D0-57AD-14EDCC2F1BE3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2" creationId="{04F33F0F-8C06-98E5-A8BB-A54007B4EC13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5" creationId="{04760EF7-A90C-EA3F-95F7-76BD8538674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7" creationId="{ADDB2CC7-0E75-9541-0C81-03BCC8FAF30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83" creationId="{1474796F-4F8C-ACB8-EFB5-6A8F6812E53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3" creationId="{5BD5D5BA-6230-33EC-5FB7-7D513760EAB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4" creationId="{222994EC-2763-ABF5-3B08-684F700F888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7" creationId="{EC72F40D-2615-CFC7-8B4C-09E4D443B929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04" creationId="{6D9E58E5-9D61-CB46-1D2D-C5468906D1B3}"/>
          </ac:spMkLst>
        </pc:spChg>
        <pc:grpChg chg="mod">
          <ac:chgData name="Werner Roman FRD FIEA" userId="179b31d7-4203-431e-8a87-3306d648d012" providerId="ADAL" clId="{2D18474D-B58F-4D8F-B27F-390D4D96BD6C}" dt="2023-10-04T14:44:05.711" v="158" actId="14100"/>
          <ac:grpSpMkLst>
            <pc:docMk/>
            <pc:sldMk cId="3228577685" sldId="2147478967"/>
            <ac:grpSpMk id="3" creationId="{D88767D7-504D-3990-A3EA-01AFD59630A1}"/>
          </ac:grpSpMkLst>
        </pc:grpChg>
        <pc:grpChg chg="mod">
          <ac:chgData name="Werner Roman FRD FIEA" userId="179b31d7-4203-431e-8a87-3306d648d012" providerId="ADAL" clId="{2D18474D-B58F-4D8F-B27F-390D4D96BD6C}" dt="2023-10-04T14:40:08.723" v="102" actId="1035"/>
          <ac:grpSpMkLst>
            <pc:docMk/>
            <pc:sldMk cId="3228577685" sldId="2147478967"/>
            <ac:grpSpMk id="46" creationId="{E56317AA-5ED0-B376-420F-5AE7A1F43CBA}"/>
          </ac:grpSpMkLst>
        </pc:grpChg>
        <pc:grpChg chg="add mod">
          <ac:chgData name="Werner Roman FRD FIEA" userId="179b31d7-4203-431e-8a87-3306d648d012" providerId="ADAL" clId="{2D18474D-B58F-4D8F-B27F-390D4D96BD6C}" dt="2023-10-04T14:40:29.958" v="112" actId="1038"/>
          <ac:grpSpMkLst>
            <pc:docMk/>
            <pc:sldMk cId="3228577685" sldId="2147478967"/>
            <ac:grpSpMk id="47" creationId="{52CF040A-2736-69D0-9500-8346589E9560}"/>
          </ac:grpSpMkLst>
        </pc:grp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15" creationId="{42B16B73-6B2B-A8BE-3CA3-C661731C530D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29" creationId="{B78523AF-8B28-A54B-3441-9A146C1CDF17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1" creationId="{DE83A375-EFED-7961-F788-1381088E9ADE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34" creationId="{68B29791-D0DC-0AE9-8AF7-2C441F8CBD1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6" creationId="{061943BD-230D-8650-D16E-F416FBB100A5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9" creationId="{847C4629-77F8-5F49-0E41-F546EB40D11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51" creationId="{A5DE6610-72CC-85E4-4FA8-8A9B848ED2DE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54" creationId="{8E46F09A-7E1C-2DB2-1C02-CD10A1104A56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59" creationId="{0028DEDF-959A-CA2C-0945-C94A71542004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65" creationId="{C19EFDCE-7D47-1952-994D-5D94817D377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89" creationId="{666018D8-8EA6-1888-D232-B39B370D488B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92" creationId="{0A4B29D2-9DE4-3A7F-3320-A1B71AEBA114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101" creationId="{59FF9A96-E36F-948D-B5A5-94E362B833BB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055F164-CB95-4BC3-9DDB-45CA2CE010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5250C4-62D4-4E9D-8419-C2B5A5EE52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3CDCE-39AD-473F-A12F-FFB7F618A376}" type="datetimeFigureOut">
              <a:rPr lang="de-DE" smtClean="0"/>
              <a:t>21.06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27D1424-08FD-4B4D-9DEF-A4CEC9529D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D0E87D-8FD6-4F63-9E35-1BA1074D7A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B4224-A638-4E81-A729-16E2E059737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3176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F5827C-5BA7-4A1C-AE89-0144598B9763}" type="datetimeFigureOut">
              <a:rPr lang="de-DE" smtClean="0"/>
              <a:t>21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C576A-2AD5-4175-81A7-2313C2C0C13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0378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A421D5-8C01-4515-AA97-9E361E855E0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495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8621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0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3"/>
            <a:ext cx="5760000" cy="720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9137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589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04482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1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03041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3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799" y="-4236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53244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4286" userDrawn="1">
          <p15:clr>
            <a:srgbClr val="FBAE40"/>
          </p15:clr>
        </p15:guide>
        <p15:guide id="5" pos="6962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515" userDrawn="1">
          <p15:clr>
            <a:srgbClr val="FBAE40"/>
          </p15:clr>
        </p15:guide>
        <p15:guide id="8" pos="3991" userDrawn="1">
          <p15:clr>
            <a:srgbClr val="FBAE40"/>
          </p15:clr>
        </p15:guide>
        <p15:guide id="9" orient="horz" pos="112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649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9268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89822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10622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3069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0224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37308852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64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4518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19956896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33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9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56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1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1" y="4320000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1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1" y="358189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1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1" y="2843791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1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1" y="210568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1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1" y="1367582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2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4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88908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60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9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54222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5371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1627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62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4"/>
            <a:ext cx="5760000" cy="720001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3949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" userDrawn="1">
          <p15:clr>
            <a:srgbClr val="FBAE40"/>
          </p15:clr>
        </p15:guide>
        <p15:guide id="2" pos="372" userDrawn="1">
          <p15:clr>
            <a:srgbClr val="FBAE40"/>
          </p15:clr>
        </p15:guide>
        <p15:guide id="3" pos="74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923200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2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18132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372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4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800" y="-423599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94000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6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5400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428" userDrawn="1">
          <p15:clr>
            <a:srgbClr val="FBAE40"/>
          </p15:clr>
        </p15:guide>
        <p15:guide id="8" pos="5028" userDrawn="1">
          <p15:clr>
            <a:srgbClr val="FBAE40"/>
          </p15:clr>
        </p15:guide>
        <p15:guide id="9" orient="horz" pos="1414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0388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0578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49321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044172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977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197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058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27E8EFA-32B0-AD87-FDE9-C54006AA6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982341"/>
              </p:ext>
            </p:ext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27E8EFA-32B0-AD87-FDE9-C54006AA6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06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284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0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0" y="4320000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0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0" y="358189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0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0" y="284379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0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0" y="210568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0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0" y="136758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567365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6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59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8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10783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1417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0854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2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ags" Target="../tags/tag4.xml"/><Relationship Id="rId27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59" imgH="360" progId="TCLayout.ActiveDocument.1">
                  <p:embed/>
                </p:oleObj>
              </mc:Choice>
              <mc:Fallback>
                <p:oleObj name="think-cell Folie" r:id="rId2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8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6887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9" r:id="rId2"/>
    <p:sldLayoutId id="2147483662" r:id="rId3"/>
    <p:sldLayoutId id="2147483664" r:id="rId4"/>
    <p:sldLayoutId id="2147483693" r:id="rId5"/>
    <p:sldLayoutId id="2147483694" r:id="rId6"/>
    <p:sldLayoutId id="2147483686" r:id="rId7"/>
    <p:sldLayoutId id="2147483692" r:id="rId8"/>
    <p:sldLayoutId id="2147483688" r:id="rId9"/>
    <p:sldLayoutId id="2147483660" r:id="rId10"/>
    <p:sldLayoutId id="2147483690" r:id="rId11"/>
    <p:sldLayoutId id="2147483663" r:id="rId12"/>
    <p:sldLayoutId id="2147483661" r:id="rId13"/>
    <p:sldLayoutId id="2147483695" r:id="rId14"/>
    <p:sldLayoutId id="2147483698" r:id="rId15"/>
    <p:sldLayoutId id="2147483689" r:id="rId16"/>
    <p:sldLayoutId id="2147483691" r:id="rId17"/>
    <p:sldLayoutId id="2147483696" r:id="rId18"/>
    <p:sldLayoutId id="2147483697" r:id="rId19"/>
    <p:sldLayoutId id="2147483744" r:id="rId20"/>
  </p:sldLayoutIdLst>
  <p:hf hdr="0"/>
  <p:txStyles>
    <p:titleStyle>
      <a:lvl1pPr marL="0" indent="0" algn="l" defTabSz="86401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4000" indent="-864000" algn="l" defTabSz="864017" rtl="0" eaLnBrk="1" latinLnBrk="0" hangingPunct="1">
        <a:lnSpc>
          <a:spcPct val="95000"/>
        </a:lnSpc>
        <a:spcBef>
          <a:spcPts val="2000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80000" indent="-21600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59" imgH="360" progId="TCLayout.ActiveDocument.1">
                  <p:embed/>
                </p:oleObj>
              </mc:Choice>
              <mc:Fallback>
                <p:oleObj name="think-cell Folie" r:id="rId2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7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6334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</p:sldLayoutIdLst>
  <p:hf hdr="0"/>
  <p:txStyles>
    <p:titleStyle>
      <a:lvl1pPr marL="0" indent="0" algn="l" defTabSz="86400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3985" indent="-863985" algn="l" defTabSz="864002" rtl="0" eaLnBrk="1" latinLnBrk="0" hangingPunct="1">
        <a:lnSpc>
          <a:spcPct val="95000"/>
        </a:lnSpc>
        <a:spcBef>
          <a:spcPts val="1999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79981" indent="-215996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1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03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04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05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619D8AB-1AF9-9F07-0778-07481B51886A}"/>
              </a:ext>
            </a:extLst>
          </p:cNvPr>
          <p:cNvSpPr/>
          <p:nvPr/>
        </p:nvSpPr>
        <p:spPr>
          <a:xfrm>
            <a:off x="2450972" y="1036320"/>
            <a:ext cx="7307708" cy="914400"/>
          </a:xfrm>
          <a:prstGeom prst="rect">
            <a:avLst/>
          </a:prstGeom>
          <a:solidFill>
            <a:srgbClr val="9797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ore Service Provid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1CBBB5-E490-632C-3500-BF1B0D81BC76}"/>
              </a:ext>
            </a:extLst>
          </p:cNvPr>
          <p:cNvSpPr/>
          <p:nvPr/>
        </p:nvSpPr>
        <p:spPr>
          <a:xfrm>
            <a:off x="4854981" y="1316736"/>
            <a:ext cx="2019692" cy="48158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>
                <a:solidFill>
                  <a:schemeClr val="tx1"/>
                </a:solidFill>
              </a:rPr>
              <a:t>Identity Wallet</a:t>
            </a: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D59FBB2-7848-769E-94C9-F300BF5E6036}"/>
              </a:ext>
            </a:extLst>
          </p:cNvPr>
          <p:cNvSpPr/>
          <p:nvPr/>
        </p:nvSpPr>
        <p:spPr>
          <a:xfrm>
            <a:off x="2534321" y="1316736"/>
            <a:ext cx="1042416" cy="48158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Registration Service(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CC2A09-1C9A-F2EC-53CB-EAA736915D21}"/>
              </a:ext>
            </a:extLst>
          </p:cNvPr>
          <p:cNvSpPr/>
          <p:nvPr/>
        </p:nvSpPr>
        <p:spPr>
          <a:xfrm>
            <a:off x="2388636" y="614679"/>
            <a:ext cx="7415764" cy="5412953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04196B2-A3CA-6195-C36F-3ECEE282AFEE}"/>
              </a:ext>
            </a:extLst>
          </p:cNvPr>
          <p:cNvSpPr txBox="1"/>
          <p:nvPr/>
        </p:nvSpPr>
        <p:spPr>
          <a:xfrm>
            <a:off x="2280920" y="383846"/>
            <a:ext cx="8066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dirty="0"/>
              <a:t>Data Spac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EBBBF9-8848-EF04-F835-D6A7355EE3FD}"/>
              </a:ext>
            </a:extLst>
          </p:cNvPr>
          <p:cNvSpPr/>
          <p:nvPr/>
        </p:nvSpPr>
        <p:spPr>
          <a:xfrm>
            <a:off x="3694651" y="1316736"/>
            <a:ext cx="1042416" cy="48158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Administration Service(s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F881EAB-8516-BE0C-D185-0B3440EB0C05}"/>
              </a:ext>
            </a:extLst>
          </p:cNvPr>
          <p:cNvSpPr/>
          <p:nvPr/>
        </p:nvSpPr>
        <p:spPr>
          <a:xfrm>
            <a:off x="4963577" y="1558290"/>
            <a:ext cx="297180" cy="148590"/>
          </a:xfrm>
          <a:prstGeom prst="rect">
            <a:avLst/>
          </a:prstGeom>
          <a:solidFill>
            <a:srgbClr val="575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DP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2A78BB2-702B-1A62-7A42-4A2F1D3E192F}"/>
              </a:ext>
            </a:extLst>
          </p:cNvPr>
          <p:cNvSpPr/>
          <p:nvPr/>
        </p:nvSpPr>
        <p:spPr>
          <a:xfrm>
            <a:off x="5368474" y="1558290"/>
            <a:ext cx="297180" cy="148590"/>
          </a:xfrm>
          <a:prstGeom prst="rect">
            <a:avLst/>
          </a:prstGeom>
          <a:solidFill>
            <a:srgbClr val="575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557B8E7-D67D-9791-B347-77EF15A5D1A1}"/>
              </a:ext>
            </a:extLst>
          </p:cNvPr>
          <p:cNvSpPr/>
          <p:nvPr/>
        </p:nvSpPr>
        <p:spPr>
          <a:xfrm>
            <a:off x="5773371" y="1558290"/>
            <a:ext cx="297180" cy="148590"/>
          </a:xfrm>
          <a:prstGeom prst="rect">
            <a:avLst/>
          </a:prstGeom>
          <a:solidFill>
            <a:srgbClr val="575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DP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6AF59B-1E77-30F4-CE02-B811429005ED}"/>
              </a:ext>
            </a:extLst>
          </p:cNvPr>
          <p:cNvSpPr/>
          <p:nvPr/>
        </p:nvSpPr>
        <p:spPr>
          <a:xfrm>
            <a:off x="6305267" y="1555496"/>
            <a:ext cx="431229" cy="148590"/>
          </a:xfrm>
          <a:prstGeom prst="rect">
            <a:avLst/>
          </a:prstGeom>
          <a:solidFill>
            <a:srgbClr val="575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CSP-B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7AB54E6-C41E-50EA-D726-ACBA9C6AA0E9}"/>
              </a:ext>
            </a:extLst>
          </p:cNvPr>
          <p:cNvSpPr/>
          <p:nvPr/>
        </p:nvSpPr>
        <p:spPr>
          <a:xfrm>
            <a:off x="6305267" y="1242441"/>
            <a:ext cx="404896" cy="14859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STS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13DBB2A-24C1-3F34-4E17-E206B1168501}"/>
              </a:ext>
            </a:extLst>
          </p:cNvPr>
          <p:cNvCxnSpPr>
            <a:cxnSpLocks/>
            <a:stCxn id="26" idx="3"/>
            <a:endCxn id="27" idx="1"/>
          </p:cNvCxnSpPr>
          <p:nvPr/>
        </p:nvCxnSpPr>
        <p:spPr>
          <a:xfrm flipV="1">
            <a:off x="6070551" y="1629791"/>
            <a:ext cx="234716" cy="2794"/>
          </a:xfrm>
          <a:prstGeom prst="straightConnector1">
            <a:avLst/>
          </a:prstGeom>
          <a:ln>
            <a:solidFill>
              <a:schemeClr val="tx2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F69C5E9-CA48-2629-F1F4-2FFDDDEA2B48}"/>
              </a:ext>
            </a:extLst>
          </p:cNvPr>
          <p:cNvCxnSpPr>
            <a:cxnSpLocks/>
            <a:stCxn id="26" idx="3"/>
            <a:endCxn id="28" idx="1"/>
          </p:cNvCxnSpPr>
          <p:nvPr/>
        </p:nvCxnSpPr>
        <p:spPr>
          <a:xfrm flipV="1">
            <a:off x="6070551" y="1316736"/>
            <a:ext cx="234716" cy="315849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4D3D6169-4DAA-DB27-B04F-ACA12FBE2DE2}"/>
              </a:ext>
            </a:extLst>
          </p:cNvPr>
          <p:cNvSpPr/>
          <p:nvPr/>
        </p:nvSpPr>
        <p:spPr>
          <a:xfrm>
            <a:off x="6982390" y="1314704"/>
            <a:ext cx="656361" cy="481584"/>
          </a:xfrm>
          <a:prstGeom prst="rect">
            <a:avLst/>
          </a:prstGeom>
          <a:solidFill>
            <a:srgbClr val="FFA600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Policy Template Hub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3CCECFD-D416-BD73-FD49-4CC575B70194}"/>
              </a:ext>
            </a:extLst>
          </p:cNvPr>
          <p:cNvSpPr/>
          <p:nvPr/>
        </p:nvSpPr>
        <p:spPr>
          <a:xfrm>
            <a:off x="7678553" y="1314704"/>
            <a:ext cx="656361" cy="481584"/>
          </a:xfrm>
          <a:prstGeom prst="rect">
            <a:avLst/>
          </a:prstGeom>
          <a:solidFill>
            <a:srgbClr val="FFA600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Authority &amp; </a:t>
            </a:r>
            <a:r>
              <a:rPr lang="en-US" sz="600">
                <a:solidFill>
                  <a:schemeClr val="tx1"/>
                </a:solidFill>
              </a:rPr>
              <a:t>Schema Registry</a:t>
            </a: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3927B8D-9D05-72B0-9FC9-825511EAC2E3}"/>
              </a:ext>
            </a:extLst>
          </p:cNvPr>
          <p:cNvSpPr/>
          <p:nvPr/>
        </p:nvSpPr>
        <p:spPr>
          <a:xfrm>
            <a:off x="8374716" y="1314704"/>
            <a:ext cx="656361" cy="481584"/>
          </a:xfrm>
          <a:prstGeom prst="rect">
            <a:avLst/>
          </a:prstGeom>
          <a:solidFill>
            <a:srgbClr val="FFA600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>
                <a:solidFill>
                  <a:schemeClr val="tx1"/>
                </a:solidFill>
              </a:rPr>
              <a:t>Issuer Component</a:t>
            </a:r>
            <a:endParaRPr lang="en-US" sz="600" dirty="0">
              <a:solidFill>
                <a:schemeClr val="tx1"/>
              </a:solidFill>
            </a:endParaRP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31F600A9-46A3-93B2-77DA-658945B0399C}"/>
              </a:ext>
            </a:extLst>
          </p:cNvPr>
          <p:cNvGrpSpPr/>
          <p:nvPr/>
        </p:nvGrpSpPr>
        <p:grpSpPr>
          <a:xfrm>
            <a:off x="2518238" y="2589276"/>
            <a:ext cx="1524934" cy="914400"/>
            <a:chOff x="2518238" y="2916936"/>
            <a:chExt cx="1524934" cy="914400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C08546A-A1F7-EFCF-4E5C-BFD8C7394B0F}"/>
                </a:ext>
              </a:extLst>
            </p:cNvPr>
            <p:cNvSpPr/>
            <p:nvPr/>
          </p:nvSpPr>
          <p:spPr>
            <a:xfrm>
              <a:off x="2518238" y="2916936"/>
              <a:ext cx="1524934" cy="914400"/>
            </a:xfrm>
            <a:prstGeom prst="rect">
              <a:avLst/>
            </a:prstGeom>
            <a:solidFill>
              <a:srgbClr val="9797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 dirty="0"/>
                <a:t>Data Provider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C9965A7-67C5-FD7C-6A47-8BDD3E8379D6}"/>
                </a:ext>
              </a:extLst>
            </p:cNvPr>
            <p:cNvSpPr/>
            <p:nvPr/>
          </p:nvSpPr>
          <p:spPr>
            <a:xfrm>
              <a:off x="2759497" y="3225524"/>
              <a:ext cx="1042416" cy="4815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Own Wallet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E94C6E0-5E43-AAA7-E894-27421065FB3E}"/>
                </a:ext>
              </a:extLst>
            </p:cNvPr>
            <p:cNvSpPr/>
            <p:nvPr/>
          </p:nvSpPr>
          <p:spPr>
            <a:xfrm>
              <a:off x="2981905" y="3466316"/>
              <a:ext cx="597600" cy="148590"/>
            </a:xfrm>
            <a:prstGeom prst="rect">
              <a:avLst/>
            </a:prstGeom>
            <a:solidFill>
              <a:srgbClr val="57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 dirty="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9C53B90D-B9DF-593B-F2D9-3CF4E70CC518}"/>
                </a:ext>
              </a:extLst>
            </p:cNvPr>
            <p:cNvSpPr/>
            <p:nvPr/>
          </p:nvSpPr>
          <p:spPr>
            <a:xfrm>
              <a:off x="3547460" y="3151229"/>
              <a:ext cx="404896" cy="14859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STS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DF656B3-4FF6-680F-50DD-351554B69F34}"/>
              </a:ext>
            </a:extLst>
          </p:cNvPr>
          <p:cNvGrpSpPr/>
          <p:nvPr/>
        </p:nvGrpSpPr>
        <p:grpSpPr>
          <a:xfrm>
            <a:off x="8162625" y="2589276"/>
            <a:ext cx="1524934" cy="914400"/>
            <a:chOff x="8162625" y="2916936"/>
            <a:chExt cx="1524934" cy="91440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BFCF737D-9B1E-2177-C3EC-3228B0048189}"/>
                </a:ext>
              </a:extLst>
            </p:cNvPr>
            <p:cNvSpPr/>
            <p:nvPr/>
          </p:nvSpPr>
          <p:spPr>
            <a:xfrm>
              <a:off x="8162625" y="2916936"/>
              <a:ext cx="1524934" cy="914400"/>
            </a:xfrm>
            <a:prstGeom prst="rect">
              <a:avLst/>
            </a:prstGeom>
            <a:solidFill>
              <a:srgbClr val="9797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100" dirty="0"/>
                <a:t>Data Consumer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5E8EF18-A053-30C2-8EE3-6A227ABB1EE0}"/>
                </a:ext>
              </a:extLst>
            </p:cNvPr>
            <p:cNvSpPr/>
            <p:nvPr/>
          </p:nvSpPr>
          <p:spPr>
            <a:xfrm>
              <a:off x="8403884" y="3225524"/>
              <a:ext cx="1042416" cy="4815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Own Wallet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FFFC102-5160-22C2-FB44-579D8ADC9366}"/>
                </a:ext>
              </a:extLst>
            </p:cNvPr>
            <p:cNvSpPr/>
            <p:nvPr/>
          </p:nvSpPr>
          <p:spPr>
            <a:xfrm>
              <a:off x="8626292" y="3466316"/>
              <a:ext cx="597600" cy="148590"/>
            </a:xfrm>
            <a:prstGeom prst="rect">
              <a:avLst/>
            </a:prstGeom>
            <a:solidFill>
              <a:srgbClr val="57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 dirty="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84104D0-7F2C-1DB3-027D-5FC919CDE83A}"/>
                </a:ext>
              </a:extLst>
            </p:cNvPr>
            <p:cNvSpPr/>
            <p:nvPr/>
          </p:nvSpPr>
          <p:spPr>
            <a:xfrm>
              <a:off x="9191847" y="3151229"/>
              <a:ext cx="404896" cy="14859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STS</a:t>
              </a:r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48077416-C54C-3B93-21DA-B0D1AB350688}"/>
              </a:ext>
            </a:extLst>
          </p:cNvPr>
          <p:cNvSpPr/>
          <p:nvPr/>
        </p:nvSpPr>
        <p:spPr>
          <a:xfrm>
            <a:off x="4397535" y="3138534"/>
            <a:ext cx="871795" cy="2781841"/>
          </a:xfrm>
          <a:prstGeom prst="rect">
            <a:avLst/>
          </a:prstGeom>
          <a:solidFill>
            <a:srgbClr val="979797"/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100" b="1" dirty="0">
                <a:solidFill>
                  <a:schemeClr val="tx1"/>
                </a:solidFill>
              </a:rPr>
              <a:t>EDC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7858F64-A79B-54C1-8EA6-C4FB7362B873}"/>
              </a:ext>
            </a:extLst>
          </p:cNvPr>
          <p:cNvSpPr/>
          <p:nvPr/>
        </p:nvSpPr>
        <p:spPr>
          <a:xfrm>
            <a:off x="7028783" y="3138534"/>
            <a:ext cx="871795" cy="2781841"/>
          </a:xfrm>
          <a:prstGeom prst="rect">
            <a:avLst/>
          </a:prstGeom>
          <a:solidFill>
            <a:srgbClr val="979797"/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100" b="1" dirty="0">
                <a:solidFill>
                  <a:schemeClr val="tx1"/>
                </a:solidFill>
              </a:rPr>
              <a:t>EDC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1ED8A12-F909-556A-DA3E-35EEE35877AD}"/>
              </a:ext>
            </a:extLst>
          </p:cNvPr>
          <p:cNvSpPr/>
          <p:nvPr/>
        </p:nvSpPr>
        <p:spPr>
          <a:xfrm>
            <a:off x="4484998" y="5550329"/>
            <a:ext cx="696867" cy="323528"/>
          </a:xfrm>
          <a:prstGeom prst="rect">
            <a:avLst/>
          </a:prstGeom>
          <a:solidFill>
            <a:srgbClr val="FFA600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b="1" dirty="0">
                <a:solidFill>
                  <a:schemeClr val="tx1"/>
                </a:solidFill>
              </a:rPr>
              <a:t>Logging</a:t>
            </a:r>
          </a:p>
          <a:p>
            <a:pPr algn="ctr"/>
            <a:r>
              <a:rPr lang="en-US" sz="600" dirty="0">
                <a:solidFill>
                  <a:schemeClr val="tx1"/>
                </a:solidFill>
              </a:rPr>
              <a:t>agreement log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B327B5C-CE93-6ABA-FFD6-BAF8A5925E0D}"/>
              </a:ext>
            </a:extLst>
          </p:cNvPr>
          <p:cNvSpPr/>
          <p:nvPr/>
        </p:nvSpPr>
        <p:spPr>
          <a:xfrm>
            <a:off x="7116246" y="5541968"/>
            <a:ext cx="696867" cy="323528"/>
          </a:xfrm>
          <a:prstGeom prst="rect">
            <a:avLst/>
          </a:prstGeom>
          <a:solidFill>
            <a:srgbClr val="FFA600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b="1" dirty="0">
                <a:solidFill>
                  <a:schemeClr val="tx1"/>
                </a:solidFill>
              </a:rPr>
              <a:t>Logging</a:t>
            </a:r>
          </a:p>
          <a:p>
            <a:pPr algn="ctr"/>
            <a:r>
              <a:rPr lang="en-US" sz="600" dirty="0">
                <a:solidFill>
                  <a:schemeClr val="tx1"/>
                </a:solidFill>
              </a:rPr>
              <a:t>agreement log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714EE0F-E2C1-34D9-7435-5FEC988ED6F1}"/>
              </a:ext>
            </a:extLst>
          </p:cNvPr>
          <p:cNvSpPr/>
          <p:nvPr/>
        </p:nvSpPr>
        <p:spPr>
          <a:xfrm>
            <a:off x="9115513" y="3820919"/>
            <a:ext cx="1144091" cy="475361"/>
          </a:xfrm>
          <a:prstGeom prst="rect">
            <a:avLst/>
          </a:prstGeom>
          <a:solidFill>
            <a:srgbClr val="9797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700" b="1" dirty="0">
                <a:solidFill>
                  <a:schemeClr val="tx1"/>
                </a:solidFill>
              </a:rPr>
              <a:t>Examp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Purpose: “Data_Usage_Contract_VehicleData_1.2.0”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5C785CF-5785-68D5-5E3A-6C8BFFF00BB7}"/>
              </a:ext>
            </a:extLst>
          </p:cNvPr>
          <p:cNvSpPr/>
          <p:nvPr/>
        </p:nvSpPr>
        <p:spPr>
          <a:xfrm>
            <a:off x="9115512" y="4875982"/>
            <a:ext cx="1144091" cy="1072291"/>
          </a:xfrm>
          <a:prstGeom prst="rect">
            <a:avLst/>
          </a:prstGeom>
          <a:solidFill>
            <a:srgbClr val="9797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700" b="1" dirty="0">
                <a:solidFill>
                  <a:schemeClr val="tx1"/>
                </a:solidFill>
              </a:rPr>
              <a:t>Data Usage Contract </a:t>
            </a:r>
            <a:r>
              <a:rPr lang="en-US" sz="700" b="1" dirty="0" err="1">
                <a:solidFill>
                  <a:schemeClr val="tx1"/>
                </a:solidFill>
              </a:rPr>
              <a:t>VehicleData</a:t>
            </a:r>
            <a:r>
              <a:rPr lang="en-US" sz="700" b="1" dirty="0">
                <a:solidFill>
                  <a:schemeClr val="tx1"/>
                </a:solidFill>
              </a:rPr>
              <a:t> 1.2.0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700" dirty="0">
                <a:solidFill>
                  <a:schemeClr val="tx1"/>
                </a:solidFill>
              </a:rPr>
              <a:t>Individual Usage Right #1</a:t>
            </a:r>
          </a:p>
          <a:p>
            <a:endParaRPr lang="en-US" sz="7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700" dirty="0">
                <a:solidFill>
                  <a:schemeClr val="tx1"/>
                </a:solidFill>
              </a:rPr>
              <a:t>Individual Usage Right #2</a:t>
            </a:r>
          </a:p>
          <a:p>
            <a:endParaRPr lang="en-US" sz="7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700" dirty="0">
                <a:solidFill>
                  <a:schemeClr val="tx1"/>
                </a:solidFill>
              </a:rPr>
              <a:t>---</a:t>
            </a:r>
          </a:p>
        </p:txBody>
      </p: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1874C553-904D-4203-23A0-D235EFC91DDD}"/>
              </a:ext>
            </a:extLst>
          </p:cNvPr>
          <p:cNvCxnSpPr>
            <a:cxnSpLocks/>
            <a:stCxn id="41" idx="0"/>
          </p:cNvCxnSpPr>
          <p:nvPr/>
        </p:nvCxnSpPr>
        <p:spPr>
          <a:xfrm rot="16200000" flipV="1">
            <a:off x="6902454" y="-485740"/>
            <a:ext cx="5235" cy="3595653"/>
          </a:xfrm>
          <a:prstGeom prst="bentConnector3">
            <a:avLst>
              <a:gd name="adj1" fmla="val 7610831"/>
            </a:avLst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272DF9BD-833D-9138-A9FD-5B42383084CD}"/>
              </a:ext>
            </a:extLst>
          </p:cNvPr>
          <p:cNvCxnSpPr>
            <a:cxnSpLocks/>
            <a:stCxn id="3" idx="0"/>
            <a:endCxn id="19" idx="0"/>
          </p:cNvCxnSpPr>
          <p:nvPr/>
        </p:nvCxnSpPr>
        <p:spPr>
          <a:xfrm rot="16200000" flipH="1" flipV="1">
            <a:off x="6806444" y="-1275881"/>
            <a:ext cx="2032" cy="5183201"/>
          </a:xfrm>
          <a:prstGeom prst="bentConnector3">
            <a:avLst>
              <a:gd name="adj1" fmla="val -25750000"/>
            </a:avLst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5BEFE20B-281B-76DB-1019-D2834CDA06A7}"/>
              </a:ext>
            </a:extLst>
          </p:cNvPr>
          <p:cNvSpPr/>
          <p:nvPr/>
        </p:nvSpPr>
        <p:spPr>
          <a:xfrm>
            <a:off x="6518697" y="2536904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1</a:t>
            </a:r>
          </a:p>
        </p:txBody>
      </p: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9880EEC1-C634-7E79-C01C-0200E899C37E}"/>
              </a:ext>
            </a:extLst>
          </p:cNvPr>
          <p:cNvCxnSpPr>
            <a:cxnSpLocks/>
          </p:cNvCxnSpPr>
          <p:nvPr/>
        </p:nvCxnSpPr>
        <p:spPr>
          <a:xfrm rot="10800000">
            <a:off x="6300979" y="1705991"/>
            <a:ext cx="1861653" cy="1080038"/>
          </a:xfrm>
          <a:prstGeom prst="bentConnector2">
            <a:avLst/>
          </a:prstGeom>
          <a:ln w="12700"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76D3CDF0-6709-D7B8-07D9-DD4279C06E04}"/>
              </a:ext>
            </a:extLst>
          </p:cNvPr>
          <p:cNvSpPr txBox="1"/>
          <p:nvPr/>
        </p:nvSpPr>
        <p:spPr>
          <a:xfrm>
            <a:off x="6413559" y="2641444"/>
            <a:ext cx="171553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/>
              <a:t>Retrieve OTT managed Wallet or own Wallet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BBFEA0B-4372-A1CB-8E36-7332E2AAB569}"/>
              </a:ext>
            </a:extLst>
          </p:cNvPr>
          <p:cNvSpPr txBox="1"/>
          <p:nvPr/>
        </p:nvSpPr>
        <p:spPr>
          <a:xfrm>
            <a:off x="3670231" y="3719931"/>
            <a:ext cx="83201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/>
              <a:t>Register data &amp; create data offers with </a:t>
            </a:r>
            <a:r>
              <a:rPr lang="en-US" sz="600" dirty="0" err="1"/>
              <a:t>UseCase</a:t>
            </a:r>
            <a:r>
              <a:rPr lang="en-US" sz="600" dirty="0"/>
              <a:t> Policy (access and/or usage)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CD70721-7E02-890F-05CD-0F5CD00F70AC}"/>
              </a:ext>
            </a:extLst>
          </p:cNvPr>
          <p:cNvSpPr/>
          <p:nvPr/>
        </p:nvSpPr>
        <p:spPr>
          <a:xfrm>
            <a:off x="3384948" y="3542512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A</a:t>
            </a:r>
          </a:p>
        </p:txBody>
      </p:sp>
      <p:cxnSp>
        <p:nvCxnSpPr>
          <p:cNvPr id="85" name="Connector: Elbow 84">
            <a:extLst>
              <a:ext uri="{FF2B5EF4-FFF2-40B4-BE49-F238E27FC236}">
                <a16:creationId xmlns:a16="http://schemas.microsoft.com/office/drawing/2014/main" id="{F1EAAE28-4671-203C-18F1-E61B26B1CAE6}"/>
              </a:ext>
            </a:extLst>
          </p:cNvPr>
          <p:cNvCxnSpPr>
            <a:cxnSpLocks/>
            <a:stCxn id="50" idx="1"/>
            <a:endCxn id="42" idx="2"/>
          </p:cNvCxnSpPr>
          <p:nvPr/>
        </p:nvCxnSpPr>
        <p:spPr>
          <a:xfrm rot="10800000">
            <a:off x="3280705" y="3503677"/>
            <a:ext cx="1116830" cy="1025779"/>
          </a:xfrm>
          <a:prstGeom prst="bentConnector2">
            <a:avLst/>
          </a:prstGeom>
          <a:ln w="12700">
            <a:solidFill>
              <a:schemeClr val="tx1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33025765-A92D-F72D-1965-1764127E668D}"/>
              </a:ext>
            </a:extLst>
          </p:cNvPr>
          <p:cNvSpPr/>
          <p:nvPr/>
        </p:nvSpPr>
        <p:spPr>
          <a:xfrm>
            <a:off x="5451691" y="3270834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2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3C7E1F60-4C32-EAF6-04EC-D9F8100BFDE0}"/>
              </a:ext>
            </a:extLst>
          </p:cNvPr>
          <p:cNvSpPr/>
          <p:nvPr/>
        </p:nvSpPr>
        <p:spPr>
          <a:xfrm>
            <a:off x="5465006" y="3856184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5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A0899A66-B0A4-0870-AAAB-6C97DA9538CB}"/>
              </a:ext>
            </a:extLst>
          </p:cNvPr>
          <p:cNvSpPr/>
          <p:nvPr/>
        </p:nvSpPr>
        <p:spPr>
          <a:xfrm>
            <a:off x="5470635" y="4441534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8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07C2F76-08E8-C420-BFC2-A65B4B495164}"/>
              </a:ext>
            </a:extLst>
          </p:cNvPr>
          <p:cNvSpPr/>
          <p:nvPr/>
        </p:nvSpPr>
        <p:spPr>
          <a:xfrm>
            <a:off x="5476264" y="5026884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9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0D34D526-1DF2-B847-C2B3-4397C55C111D}"/>
              </a:ext>
            </a:extLst>
          </p:cNvPr>
          <p:cNvSpPr/>
          <p:nvPr/>
        </p:nvSpPr>
        <p:spPr>
          <a:xfrm>
            <a:off x="5476264" y="5612233"/>
            <a:ext cx="360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10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90958DA-7A06-C832-2383-73FE3AD9C386}"/>
              </a:ext>
            </a:extLst>
          </p:cNvPr>
          <p:cNvSpPr txBox="1"/>
          <p:nvPr/>
        </p:nvSpPr>
        <p:spPr>
          <a:xfrm>
            <a:off x="5552363" y="3189415"/>
            <a:ext cx="9861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/>
              <a:t>Query Catalog/</a:t>
            </a:r>
          </a:p>
          <a:p>
            <a:r>
              <a:rPr lang="en-US" sz="600" dirty="0"/>
              <a:t>Offers &amp; Providers OTT</a:t>
            </a: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BB494D6D-AD8F-2B69-A958-090CF7F06B9C}"/>
              </a:ext>
            </a:extLst>
          </p:cNvPr>
          <p:cNvCxnSpPr/>
          <p:nvPr/>
        </p:nvCxnSpPr>
        <p:spPr>
          <a:xfrm flipH="1">
            <a:off x="5269330" y="3503676"/>
            <a:ext cx="174613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F28D7CDD-46CC-BF80-974B-2244BE4DB012}"/>
              </a:ext>
            </a:extLst>
          </p:cNvPr>
          <p:cNvCxnSpPr>
            <a:cxnSpLocks/>
            <a:endCxn id="50" idx="0"/>
          </p:cNvCxnSpPr>
          <p:nvPr/>
        </p:nvCxnSpPr>
        <p:spPr>
          <a:xfrm rot="5400000">
            <a:off x="4702346" y="1837082"/>
            <a:ext cx="1432540" cy="1170365"/>
          </a:xfrm>
          <a:prstGeom prst="bentConnector3">
            <a:avLst>
              <a:gd name="adj1" fmla="val 50000"/>
            </a:avLst>
          </a:prstGeom>
          <a:ln w="12700"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64DA16D2-C18D-97DF-D7F8-37E4E624411E}"/>
              </a:ext>
            </a:extLst>
          </p:cNvPr>
          <p:cNvSpPr txBox="1"/>
          <p:nvPr/>
        </p:nvSpPr>
        <p:spPr>
          <a:xfrm>
            <a:off x="4981578" y="2884965"/>
            <a:ext cx="81624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/>
              <a:t>Query VP via OTP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B11150F-5202-8E12-2325-4E2C8C4CB344}"/>
              </a:ext>
            </a:extLst>
          </p:cNvPr>
          <p:cNvSpPr/>
          <p:nvPr/>
        </p:nvSpPr>
        <p:spPr>
          <a:xfrm>
            <a:off x="4909577" y="2864293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3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12E8DF36-BD5A-9666-9066-9A17705CC212}"/>
              </a:ext>
            </a:extLst>
          </p:cNvPr>
          <p:cNvSpPr/>
          <p:nvPr/>
        </p:nvSpPr>
        <p:spPr>
          <a:xfrm>
            <a:off x="4510973" y="3542512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4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20194E2-25F5-DDF8-9CF7-EF382ED62B98}"/>
              </a:ext>
            </a:extLst>
          </p:cNvPr>
          <p:cNvSpPr txBox="1"/>
          <p:nvPr/>
        </p:nvSpPr>
        <p:spPr>
          <a:xfrm>
            <a:off x="4602610" y="3522179"/>
            <a:ext cx="50526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/>
              <a:t>Verify VP</a:t>
            </a: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EF6E5C23-DFE6-61F5-C124-0F1B5786567D}"/>
              </a:ext>
            </a:extLst>
          </p:cNvPr>
          <p:cNvCxnSpPr/>
          <p:nvPr/>
        </p:nvCxnSpPr>
        <p:spPr>
          <a:xfrm flipH="1">
            <a:off x="5269330" y="4098036"/>
            <a:ext cx="1746138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99D50609-2E6A-6A88-F6E4-79632638ADC5}"/>
              </a:ext>
            </a:extLst>
          </p:cNvPr>
          <p:cNvSpPr txBox="1"/>
          <p:nvPr/>
        </p:nvSpPr>
        <p:spPr>
          <a:xfrm>
            <a:off x="5574338" y="3854839"/>
            <a:ext cx="69602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/>
              <a:t>Submit catalog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CABF62B0-84AE-A039-2814-09B77D0E15AA}"/>
              </a:ext>
            </a:extLst>
          </p:cNvPr>
          <p:cNvSpPr/>
          <p:nvPr/>
        </p:nvSpPr>
        <p:spPr>
          <a:xfrm>
            <a:off x="8129093" y="3742457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6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F36E31C4-075F-872E-B3A0-C58191702FFF}"/>
              </a:ext>
            </a:extLst>
          </p:cNvPr>
          <p:cNvSpPr txBox="1"/>
          <p:nvPr/>
        </p:nvSpPr>
        <p:spPr>
          <a:xfrm>
            <a:off x="8217544" y="3719931"/>
            <a:ext cx="6431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/>
              <a:t>Offer Policies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CC81798F-5A05-0EE0-EC54-4CD32B3B61D2}"/>
              </a:ext>
            </a:extLst>
          </p:cNvPr>
          <p:cNvSpPr txBox="1"/>
          <p:nvPr/>
        </p:nvSpPr>
        <p:spPr>
          <a:xfrm>
            <a:off x="8230189" y="4098036"/>
            <a:ext cx="7922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/>
              <a:t>(Individual)</a:t>
            </a:r>
          </a:p>
          <a:p>
            <a:r>
              <a:rPr lang="en-US" sz="600" dirty="0"/>
              <a:t>Purpose defined?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0EBBC02E-EF0F-5441-96B8-B2C7D6D8D5F9}"/>
              </a:ext>
            </a:extLst>
          </p:cNvPr>
          <p:cNvSpPr txBox="1"/>
          <p:nvPr/>
        </p:nvSpPr>
        <p:spPr>
          <a:xfrm>
            <a:off x="7993033" y="4468399"/>
            <a:ext cx="43794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" dirty="0"/>
              <a:t>No Yes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B05B543C-1733-0CCD-DFB1-FAE65D5D662D}"/>
              </a:ext>
            </a:extLst>
          </p:cNvPr>
          <p:cNvSpPr/>
          <p:nvPr/>
        </p:nvSpPr>
        <p:spPr>
          <a:xfrm>
            <a:off x="8714933" y="4541060"/>
            <a:ext cx="144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7</a:t>
            </a:r>
          </a:p>
        </p:txBody>
      </p: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10483921-35AC-4A44-F778-E046CE759823}"/>
              </a:ext>
            </a:extLst>
          </p:cNvPr>
          <p:cNvCxnSpPr>
            <a:cxnSpLocks/>
            <a:stCxn id="106" idx="1"/>
          </p:cNvCxnSpPr>
          <p:nvPr/>
        </p:nvCxnSpPr>
        <p:spPr>
          <a:xfrm flipH="1">
            <a:off x="7900578" y="3814457"/>
            <a:ext cx="228515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8E95F929-E553-CCC3-45EE-A492D6694440}"/>
              </a:ext>
            </a:extLst>
          </p:cNvPr>
          <p:cNvCxnSpPr>
            <a:cxnSpLocks/>
            <a:stCxn id="127" idx="0"/>
            <a:endCxn id="106" idx="2"/>
          </p:cNvCxnSpPr>
          <p:nvPr/>
        </p:nvCxnSpPr>
        <p:spPr>
          <a:xfrm flipV="1">
            <a:off x="8197017" y="3886457"/>
            <a:ext cx="4076" cy="253467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Flowchart: Decision 126">
            <a:extLst>
              <a:ext uri="{FF2B5EF4-FFF2-40B4-BE49-F238E27FC236}">
                <a16:creationId xmlns:a16="http://schemas.microsoft.com/office/drawing/2014/main" id="{20278E21-8B24-1EB6-119B-A42F4F55C171}"/>
              </a:ext>
            </a:extLst>
          </p:cNvPr>
          <p:cNvSpPr/>
          <p:nvPr/>
        </p:nvSpPr>
        <p:spPr>
          <a:xfrm>
            <a:off x="8107017" y="4139924"/>
            <a:ext cx="180000" cy="180000"/>
          </a:xfrm>
          <a:prstGeom prst="flowChartDecisi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958DF5C7-B1E6-5377-D79D-18F2C41D877F}"/>
              </a:ext>
            </a:extLst>
          </p:cNvPr>
          <p:cNvCxnSpPr>
            <a:cxnSpLocks/>
            <a:stCxn id="112" idx="1"/>
            <a:endCxn id="127" idx="2"/>
          </p:cNvCxnSpPr>
          <p:nvPr/>
        </p:nvCxnSpPr>
        <p:spPr>
          <a:xfrm rot="10800000">
            <a:off x="8197017" y="4319924"/>
            <a:ext cx="517916" cy="293136"/>
          </a:xfrm>
          <a:prstGeom prst="bentConnector2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29">
            <a:extLst>
              <a:ext uri="{FF2B5EF4-FFF2-40B4-BE49-F238E27FC236}">
                <a16:creationId xmlns:a16="http://schemas.microsoft.com/office/drawing/2014/main" id="{25C3D629-82B6-C470-3370-72FDF0273A6D}"/>
              </a:ext>
            </a:extLst>
          </p:cNvPr>
          <p:cNvCxnSpPr>
            <a:cxnSpLocks/>
            <a:endCxn id="127" idx="2"/>
          </p:cNvCxnSpPr>
          <p:nvPr/>
        </p:nvCxnSpPr>
        <p:spPr>
          <a:xfrm flipV="1">
            <a:off x="7906293" y="4319924"/>
            <a:ext cx="290724" cy="293136"/>
          </a:xfrm>
          <a:prstGeom prst="bentConnector2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3F14D412-1054-32B8-40CD-DC50EF1E104C}"/>
              </a:ext>
            </a:extLst>
          </p:cNvPr>
          <p:cNvSpPr txBox="1"/>
          <p:nvPr/>
        </p:nvSpPr>
        <p:spPr>
          <a:xfrm>
            <a:off x="8851529" y="4422232"/>
            <a:ext cx="816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/>
              <a:t>Manually </a:t>
            </a:r>
            <a:r>
              <a:rPr lang="en-US" sz="600" dirty="0"/>
              <a:t>Check individual data contract policies/rules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45BC5F9E-AE95-578A-B933-1DBE565C1195}"/>
              </a:ext>
            </a:extLst>
          </p:cNvPr>
          <p:cNvSpPr txBox="1"/>
          <p:nvPr/>
        </p:nvSpPr>
        <p:spPr>
          <a:xfrm>
            <a:off x="7964981" y="5418931"/>
            <a:ext cx="10185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/>
              <a:t>If data contract is acceptable for the specific data request proceed with the negotiation</a:t>
            </a:r>
          </a:p>
        </p:txBody>
      </p:sp>
      <p:cxnSp>
        <p:nvCxnSpPr>
          <p:cNvPr id="142" name="Connector: Elbow 141">
            <a:extLst>
              <a:ext uri="{FF2B5EF4-FFF2-40B4-BE49-F238E27FC236}">
                <a16:creationId xmlns:a16="http://schemas.microsoft.com/office/drawing/2014/main" id="{83A85EA3-819B-A8D4-C609-E8C8FA4B37FA}"/>
              </a:ext>
            </a:extLst>
          </p:cNvPr>
          <p:cNvCxnSpPr>
            <a:stCxn id="112" idx="2"/>
          </p:cNvCxnSpPr>
          <p:nvPr/>
        </p:nvCxnSpPr>
        <p:spPr>
          <a:xfrm rot="5400000">
            <a:off x="7958098" y="4627541"/>
            <a:ext cx="771317" cy="886355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F0F99E80-3945-3F4F-2DA2-68C60E079C7F}"/>
              </a:ext>
            </a:extLst>
          </p:cNvPr>
          <p:cNvCxnSpPr/>
          <p:nvPr/>
        </p:nvCxnSpPr>
        <p:spPr>
          <a:xfrm flipH="1">
            <a:off x="5269330" y="4653065"/>
            <a:ext cx="174613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660DA044-2F21-B389-649F-F9AF975135D1}"/>
              </a:ext>
            </a:extLst>
          </p:cNvPr>
          <p:cNvSpPr txBox="1"/>
          <p:nvPr/>
        </p:nvSpPr>
        <p:spPr>
          <a:xfrm>
            <a:off x="5609006" y="4428394"/>
            <a:ext cx="87716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/>
              <a:t>Contract negotiation</a:t>
            </a:r>
          </a:p>
        </p:txBody>
      </p: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2FA80D9E-7D87-142D-8D62-E9452D0FB787}"/>
              </a:ext>
            </a:extLst>
          </p:cNvPr>
          <p:cNvCxnSpPr/>
          <p:nvPr/>
        </p:nvCxnSpPr>
        <p:spPr>
          <a:xfrm flipH="1">
            <a:off x="5266034" y="5227105"/>
            <a:ext cx="1746138" cy="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24BB2BFC-5FA4-B404-4125-A246E740965E}"/>
              </a:ext>
            </a:extLst>
          </p:cNvPr>
          <p:cNvSpPr txBox="1"/>
          <p:nvPr/>
        </p:nvSpPr>
        <p:spPr>
          <a:xfrm>
            <a:off x="5606864" y="4990567"/>
            <a:ext cx="107753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/>
              <a:t>Contract Closure/Success</a:t>
            </a:r>
          </a:p>
        </p:txBody>
      </p:sp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54F54DDC-6722-DD4D-8F1F-E3D0F8A62A7A}"/>
              </a:ext>
            </a:extLst>
          </p:cNvPr>
          <p:cNvCxnSpPr/>
          <p:nvPr/>
        </p:nvCxnSpPr>
        <p:spPr>
          <a:xfrm flipH="1">
            <a:off x="5282645" y="5804916"/>
            <a:ext cx="1746138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CFA4FC1A-10C5-36DE-D3A0-D1CE69C26988}"/>
              </a:ext>
            </a:extLst>
          </p:cNvPr>
          <p:cNvSpPr txBox="1"/>
          <p:nvPr/>
        </p:nvSpPr>
        <p:spPr>
          <a:xfrm>
            <a:off x="5799742" y="5597966"/>
            <a:ext cx="65594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/>
              <a:t>Data Transfer</a:t>
            </a:r>
          </a:p>
        </p:txBody>
      </p: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7D9ECC7A-3CAD-FBC0-4871-C63D992A0E1D}"/>
              </a:ext>
            </a:extLst>
          </p:cNvPr>
          <p:cNvCxnSpPr>
            <a:cxnSpLocks/>
            <a:stCxn id="37" idx="2"/>
            <a:endCxn id="83" idx="0"/>
          </p:cNvCxnSpPr>
          <p:nvPr/>
        </p:nvCxnSpPr>
        <p:spPr>
          <a:xfrm rot="5400000">
            <a:off x="4736585" y="1145944"/>
            <a:ext cx="1923643" cy="3224331"/>
          </a:xfrm>
          <a:prstGeom prst="bentConnector3">
            <a:avLst>
              <a:gd name="adj1" fmla="val 12651"/>
            </a:avLst>
          </a:prstGeom>
          <a:ln w="12700"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783BA907-565D-B700-2184-117BD6F219BD}"/>
              </a:ext>
            </a:extLst>
          </p:cNvPr>
          <p:cNvSpPr/>
          <p:nvPr/>
        </p:nvSpPr>
        <p:spPr>
          <a:xfrm>
            <a:off x="9070879" y="1314704"/>
            <a:ext cx="656361" cy="481584"/>
          </a:xfrm>
          <a:prstGeom prst="rect">
            <a:avLst/>
          </a:prstGeom>
          <a:solidFill>
            <a:srgbClr val="FFA600"/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BPN DID Resolution Service</a:t>
            </a:r>
          </a:p>
        </p:txBody>
      </p:sp>
    </p:spTree>
    <p:extLst>
      <p:ext uri="{BB962C8B-B14F-4D97-AF65-F5344CB8AC3E}">
        <p14:creationId xmlns:p14="http://schemas.microsoft.com/office/powerpoint/2010/main" val="174527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hteck 105">
            <a:extLst>
              <a:ext uri="{FF2B5EF4-FFF2-40B4-BE49-F238E27FC236}">
                <a16:creationId xmlns:a16="http://schemas.microsoft.com/office/drawing/2014/main" id="{BE6B3CC1-1014-E380-D77F-65BDD8DAB97B}"/>
              </a:ext>
            </a:extLst>
          </p:cNvPr>
          <p:cNvSpPr/>
          <p:nvPr/>
        </p:nvSpPr>
        <p:spPr>
          <a:xfrm>
            <a:off x="506499" y="198770"/>
            <a:ext cx="9561232" cy="2413238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 sz="1000" b="1" dirty="0">
              <a:solidFill>
                <a:schemeClr val="bg1"/>
              </a:solidFill>
              <a:latin typeface="Manrope" pitchFamily="2" charset="0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E9C46E0-05FB-8773-3D3C-DA805ADE62B5}"/>
              </a:ext>
            </a:extLst>
          </p:cNvPr>
          <p:cNvSpPr/>
          <p:nvPr/>
        </p:nvSpPr>
        <p:spPr>
          <a:xfrm>
            <a:off x="506499" y="3023837"/>
            <a:ext cx="9561232" cy="2586076"/>
          </a:xfrm>
          <a:prstGeom prst="rect">
            <a:avLst/>
          </a:prstGeom>
          <a:solidFill>
            <a:srgbClr val="5F5F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 sz="1000" b="1" dirty="0">
              <a:solidFill>
                <a:schemeClr val="bg1"/>
              </a:solidFill>
              <a:latin typeface="Manrope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5B07E25-9A76-02E8-7080-10C91A561380}"/>
              </a:ext>
            </a:extLst>
          </p:cNvPr>
          <p:cNvSpPr/>
          <p:nvPr/>
        </p:nvSpPr>
        <p:spPr>
          <a:xfrm>
            <a:off x="12167330" y="5609913"/>
            <a:ext cx="558812" cy="5913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BA4AD7A-9DEA-EDE7-FDBF-6CF824B67BF9}"/>
              </a:ext>
            </a:extLst>
          </p:cNvPr>
          <p:cNvSpPr/>
          <p:nvPr/>
        </p:nvSpPr>
        <p:spPr>
          <a:xfrm>
            <a:off x="3072292" y="5814076"/>
            <a:ext cx="4279744" cy="5237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defTabSz="914389"/>
            <a:r>
              <a:rPr lang="de-DE" sz="900" kern="0">
                <a:solidFill>
                  <a:prstClr val="black"/>
                </a:solidFill>
                <a:latin typeface="Manrope" pitchFamily="2" charset="0"/>
              </a:rPr>
              <a:t>GXDCH</a:t>
            </a:r>
            <a:endParaRPr lang="de-GB" sz="900" kern="0">
              <a:solidFill>
                <a:prstClr val="black"/>
              </a:solidFill>
              <a:latin typeface="Manrope" pitchFamily="2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C547FE1-EA06-C5B6-ED2B-F17D17E7425A}"/>
              </a:ext>
            </a:extLst>
          </p:cNvPr>
          <p:cNvSpPr/>
          <p:nvPr/>
        </p:nvSpPr>
        <p:spPr>
          <a:xfrm>
            <a:off x="5442644" y="3397330"/>
            <a:ext cx="1909392" cy="1424301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algn="ctr" defTabSz="914389"/>
            <a:r>
              <a:rPr lang="en-US" sz="900" b="1" kern="0" dirty="0">
                <a:solidFill>
                  <a:prstClr val="black"/>
                </a:solidFill>
                <a:latin typeface="Manrope" pitchFamily="2" charset="0"/>
              </a:rPr>
              <a:t>Step 3:</a:t>
            </a:r>
            <a:br>
              <a:rPr lang="en-US" sz="900" kern="0" dirty="0">
                <a:solidFill>
                  <a:prstClr val="black"/>
                </a:solidFill>
                <a:latin typeface="Manrope" pitchFamily="2" charset="0"/>
              </a:rPr>
            </a:br>
            <a:r>
              <a:rPr lang="en-US" sz="900" kern="0" dirty="0">
                <a:solidFill>
                  <a:prstClr val="black"/>
                </a:solidFill>
                <a:latin typeface="Manrope" pitchFamily="2" charset="0"/>
              </a:rPr>
              <a:t>Company Data Validation/</a:t>
            </a:r>
            <a:r>
              <a:rPr lang="en-US" sz="900" b="0" i="0" u="none" strike="noStrike" dirty="0">
                <a:solidFill>
                  <a:srgbClr val="0D0D0D"/>
                </a:solidFill>
                <a:effectLst/>
                <a:latin typeface="ui-sans-serif"/>
              </a:rPr>
              <a:t> </a:t>
            </a:r>
            <a:r>
              <a:rPr lang="en-US" sz="900" dirty="0">
                <a:solidFill>
                  <a:srgbClr val="0D0D0D"/>
                </a:solidFill>
                <a:latin typeface="ui-sans-serif"/>
              </a:rPr>
              <a:t>I</a:t>
            </a:r>
            <a:r>
              <a:rPr lang="en-US" sz="900" b="0" i="0" u="none" strike="noStrike" dirty="0">
                <a:solidFill>
                  <a:srgbClr val="0D0D0D"/>
                </a:solidFill>
                <a:effectLst/>
                <a:latin typeface="ui-sans-serif"/>
              </a:rPr>
              <a:t>dentity </a:t>
            </a:r>
            <a:r>
              <a:rPr lang="en-US" sz="900" dirty="0">
                <a:solidFill>
                  <a:srgbClr val="0D0D0D"/>
                </a:solidFill>
                <a:latin typeface="ui-sans-serif"/>
              </a:rPr>
              <a:t>C</a:t>
            </a:r>
            <a:r>
              <a:rPr lang="en-US" sz="900" b="0" i="0" u="none" strike="noStrike" dirty="0">
                <a:solidFill>
                  <a:srgbClr val="0D0D0D"/>
                </a:solidFill>
                <a:effectLst/>
                <a:latin typeface="ui-sans-serif"/>
              </a:rPr>
              <a:t>reation</a:t>
            </a:r>
            <a:endParaRPr lang="en-US" sz="900" kern="0" dirty="0">
              <a:solidFill>
                <a:prstClr val="black"/>
              </a:solidFill>
              <a:latin typeface="Manrope" pitchFamily="2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71C2ED9-FB2A-BFD5-1ED7-6F7C6BEF2F34}"/>
              </a:ext>
            </a:extLst>
          </p:cNvPr>
          <p:cNvSpPr/>
          <p:nvPr/>
        </p:nvSpPr>
        <p:spPr>
          <a:xfrm>
            <a:off x="5681377" y="6011974"/>
            <a:ext cx="1468038" cy="20147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900" dirty="0">
                <a:solidFill>
                  <a:schemeClr val="tx1"/>
                </a:solidFill>
                <a:latin typeface="Manrope" pitchFamily="2" charset="0"/>
              </a:rPr>
              <a:t>Compliance Service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99B3520D-32BC-DE41-B660-5F315FEC5851}"/>
              </a:ext>
            </a:extLst>
          </p:cNvPr>
          <p:cNvSpPr/>
          <p:nvPr/>
        </p:nvSpPr>
        <p:spPr>
          <a:xfrm>
            <a:off x="3289060" y="6017870"/>
            <a:ext cx="1471929" cy="201479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defRPr/>
            </a:pPr>
            <a:r>
              <a:rPr lang="en-US" sz="900" dirty="0">
                <a:solidFill>
                  <a:schemeClr val="tx1"/>
                </a:solidFill>
                <a:latin typeface="Manrope" pitchFamily="2" charset="0"/>
              </a:rPr>
              <a:t>Notarization Service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47E51582-C964-5130-B2BF-FCB0757AC98B}"/>
              </a:ext>
            </a:extLst>
          </p:cNvPr>
          <p:cNvSpPr/>
          <p:nvPr/>
        </p:nvSpPr>
        <p:spPr>
          <a:xfrm>
            <a:off x="5557569" y="3900131"/>
            <a:ext cx="1718453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algn="ctr">
              <a:defRPr/>
            </a:pPr>
            <a:r>
              <a:rPr lang="de-DE" sz="900" dirty="0">
                <a:solidFill>
                  <a:schemeClr val="tx1"/>
                </a:solidFill>
                <a:latin typeface="Manrope" pitchFamily="2" charset="0"/>
              </a:rPr>
              <a:t>Create </a:t>
            </a:r>
            <a:r>
              <a:rPr lang="de-GB" sz="900">
                <a:solidFill>
                  <a:schemeClr val="tx1"/>
                </a:solidFill>
                <a:latin typeface="Manrope" pitchFamily="2" charset="0"/>
              </a:rPr>
              <a:t>BPN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7EBC77D-5965-A0C4-DC48-E3A07609B804}"/>
              </a:ext>
            </a:extLst>
          </p:cNvPr>
          <p:cNvSpPr/>
          <p:nvPr/>
        </p:nvSpPr>
        <p:spPr>
          <a:xfrm>
            <a:off x="5556956" y="4119037"/>
            <a:ext cx="1718453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algn="ctr">
              <a:defRPr/>
            </a:pPr>
            <a:r>
              <a:rPr lang="de-DE" sz="900" dirty="0">
                <a:solidFill>
                  <a:schemeClr val="tx1"/>
                </a:solidFill>
                <a:latin typeface="Manrope" pitchFamily="2" charset="0"/>
              </a:rPr>
              <a:t>Create Wallet</a:t>
            </a:r>
            <a:endParaRPr lang="de-GB" sz="900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2B8CD501-89AC-B45A-F5D7-BF4756851BE8}"/>
              </a:ext>
            </a:extLst>
          </p:cNvPr>
          <p:cNvSpPr/>
          <p:nvPr/>
        </p:nvSpPr>
        <p:spPr>
          <a:xfrm>
            <a:off x="5556956" y="4347631"/>
            <a:ext cx="1718453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algn="ctr">
              <a:defRPr/>
            </a:pPr>
            <a:r>
              <a:rPr lang="de-DE" sz="900">
                <a:solidFill>
                  <a:schemeClr val="tx1"/>
                </a:solidFill>
                <a:latin typeface="Manrope" pitchFamily="2" charset="0"/>
              </a:rPr>
              <a:t>GXDCH Check</a:t>
            </a:r>
            <a:endParaRPr lang="de-GB" sz="900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7FCF15A-DB45-DAE2-DE8B-726C589AE7AB}"/>
              </a:ext>
            </a:extLst>
          </p:cNvPr>
          <p:cNvSpPr/>
          <p:nvPr/>
        </p:nvSpPr>
        <p:spPr>
          <a:xfrm>
            <a:off x="5556170" y="4571707"/>
            <a:ext cx="1718453" cy="17959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algn="ctr">
              <a:defRPr/>
            </a:pPr>
            <a:r>
              <a:rPr lang="de-DE" sz="900">
                <a:solidFill>
                  <a:schemeClr val="tx1"/>
                </a:solidFill>
                <a:latin typeface="Manrope" pitchFamily="2" charset="0"/>
              </a:rPr>
              <a:t>Create SD</a:t>
            </a:r>
            <a:endParaRPr lang="de-GB" sz="900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4F24601E-3797-F8E0-42F3-EB89E96D4A4D}"/>
              </a:ext>
            </a:extLst>
          </p:cNvPr>
          <p:cNvSpPr/>
          <p:nvPr/>
        </p:nvSpPr>
        <p:spPr>
          <a:xfrm>
            <a:off x="3072292" y="3401418"/>
            <a:ext cx="1908000" cy="1424302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algn="ctr" defTabSz="914389"/>
            <a:r>
              <a:rPr lang="en-US" sz="900" b="1" kern="0" dirty="0">
                <a:solidFill>
                  <a:prstClr val="black"/>
                </a:solidFill>
                <a:latin typeface="Manrope" pitchFamily="2" charset="0"/>
              </a:rPr>
              <a:t>Step</a:t>
            </a:r>
            <a:r>
              <a:rPr lang="de-DE" sz="900" b="1" kern="0" dirty="0">
                <a:solidFill>
                  <a:prstClr val="black"/>
                </a:solidFill>
                <a:latin typeface="Manrope" pitchFamily="2" charset="0"/>
              </a:rPr>
              <a:t> 2:</a:t>
            </a:r>
            <a:br>
              <a:rPr lang="de-DE" sz="900" kern="0" dirty="0">
                <a:solidFill>
                  <a:prstClr val="black"/>
                </a:solidFill>
                <a:latin typeface="Manrope" pitchFamily="2" charset="0"/>
              </a:rPr>
            </a:br>
            <a:r>
              <a:rPr lang="de-DE" sz="900" kern="0" dirty="0">
                <a:solidFill>
                  <a:prstClr val="black"/>
                </a:solidFill>
                <a:latin typeface="Manrope" pitchFamily="2" charset="0"/>
              </a:rPr>
              <a:t>Company Onboarding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0E8FA8BD-E84E-D53F-A292-CAAFFE123BC3}"/>
              </a:ext>
            </a:extLst>
          </p:cNvPr>
          <p:cNvSpPr/>
          <p:nvPr/>
        </p:nvSpPr>
        <p:spPr>
          <a:xfrm>
            <a:off x="3168959" y="3899724"/>
            <a:ext cx="1717200" cy="1800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algn="ctr">
              <a:spcAft>
                <a:spcPts val="567"/>
              </a:spcAft>
              <a:buClr>
                <a:schemeClr val="tx1"/>
              </a:buClr>
              <a:defRPr/>
            </a:pPr>
            <a:r>
              <a:rPr lang="en-GB" sz="900" dirty="0">
                <a:solidFill>
                  <a:schemeClr val="tx1"/>
                </a:solidFill>
                <a:latin typeface="Manrope" pitchFamily="2" charset="0"/>
              </a:rPr>
              <a:t>Choose Data Ecosystem Role</a:t>
            </a:r>
          </a:p>
        </p:txBody>
      </p: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B09454A-3997-6464-B54D-C0CD404E0755}"/>
              </a:ext>
            </a:extLst>
          </p:cNvPr>
          <p:cNvCxnSpPr>
            <a:cxnSpLocks/>
          </p:cNvCxnSpPr>
          <p:nvPr/>
        </p:nvCxnSpPr>
        <p:spPr>
          <a:xfrm>
            <a:off x="4954507" y="3822390"/>
            <a:ext cx="453661" cy="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03E3E4FB-2D1D-F385-8A71-32C686541EA3}"/>
              </a:ext>
            </a:extLst>
          </p:cNvPr>
          <p:cNvCxnSpPr>
            <a:cxnSpLocks/>
            <a:endCxn id="46" idx="1"/>
          </p:cNvCxnSpPr>
          <p:nvPr/>
        </p:nvCxnSpPr>
        <p:spPr>
          <a:xfrm>
            <a:off x="2609940" y="4113569"/>
            <a:ext cx="462352" cy="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>
            <a:extLst>
              <a:ext uri="{FF2B5EF4-FFF2-40B4-BE49-F238E27FC236}">
                <a16:creationId xmlns:a16="http://schemas.microsoft.com/office/drawing/2014/main" id="{C4DF4B50-6EC3-C91B-48B9-B1908BC511E8}"/>
              </a:ext>
            </a:extLst>
          </p:cNvPr>
          <p:cNvSpPr/>
          <p:nvPr/>
        </p:nvSpPr>
        <p:spPr>
          <a:xfrm>
            <a:off x="701940" y="3397330"/>
            <a:ext cx="1908000" cy="1927882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algn="ctr" defTabSz="914389"/>
            <a:r>
              <a:rPr lang="en-US" sz="900" b="1" kern="0" dirty="0">
                <a:solidFill>
                  <a:prstClr val="black"/>
                </a:solidFill>
                <a:latin typeface="Manrope" pitchFamily="2" charset="0"/>
              </a:rPr>
              <a:t>Step1:</a:t>
            </a:r>
            <a:br>
              <a:rPr lang="en-US" sz="900" b="1" kern="0" dirty="0">
                <a:solidFill>
                  <a:prstClr val="black"/>
                </a:solidFill>
                <a:latin typeface="Manrope" pitchFamily="2" charset="0"/>
              </a:rPr>
            </a:br>
            <a:r>
              <a:rPr lang="en-US" sz="900" kern="0" dirty="0">
                <a:solidFill>
                  <a:prstClr val="black"/>
                </a:solidFill>
                <a:latin typeface="Manrope" pitchFamily="2" charset="0"/>
              </a:rPr>
              <a:t>Operating Company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CD0056A0-5713-0274-FAE6-D8A7BFDE49D6}"/>
              </a:ext>
            </a:extLst>
          </p:cNvPr>
          <p:cNvSpPr/>
          <p:nvPr/>
        </p:nvSpPr>
        <p:spPr>
          <a:xfrm>
            <a:off x="7820154" y="505440"/>
            <a:ext cx="1909392" cy="644400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algn="ctr" defTabSz="914389"/>
            <a:r>
              <a:rPr lang="en-US" sz="900" b="1" kern="0" dirty="0">
                <a:solidFill>
                  <a:prstClr val="black"/>
                </a:solidFill>
                <a:latin typeface="Manrope" pitchFamily="2" charset="0"/>
              </a:rPr>
              <a:t>Step 6:</a:t>
            </a:r>
            <a:br>
              <a:rPr lang="en-US" sz="900" kern="0" dirty="0">
                <a:solidFill>
                  <a:prstClr val="black"/>
                </a:solidFill>
                <a:latin typeface="Manrope" pitchFamily="2" charset="0"/>
              </a:rPr>
            </a:br>
            <a:endParaRPr lang="en-US" sz="900" kern="0" dirty="0">
              <a:solidFill>
                <a:prstClr val="black"/>
              </a:solidFill>
              <a:latin typeface="Manrope" pitchFamily="2" charset="0"/>
            </a:endParaRPr>
          </a:p>
          <a:p>
            <a:pPr algn="ctr" defTabSz="914389"/>
            <a:r>
              <a:rPr lang="en-US" sz="900" kern="0" dirty="0">
                <a:solidFill>
                  <a:prstClr val="black"/>
                </a:solidFill>
                <a:latin typeface="Manrope" pitchFamily="2" charset="0"/>
              </a:rPr>
              <a:t>Notification of successful onboarding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2D3792E-068E-A06B-6129-0FE1B609ED83}"/>
              </a:ext>
            </a:extLst>
          </p:cNvPr>
          <p:cNvGrpSpPr/>
          <p:nvPr/>
        </p:nvGrpSpPr>
        <p:grpSpPr>
          <a:xfrm>
            <a:off x="884467" y="3703236"/>
            <a:ext cx="1542946" cy="1538253"/>
            <a:chOff x="1027225" y="1993398"/>
            <a:chExt cx="1542946" cy="1538253"/>
          </a:xfrm>
        </p:grpSpPr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70FFD6D2-D8B1-C9C9-EFF3-2D62894FFACD}"/>
                </a:ext>
              </a:extLst>
            </p:cNvPr>
            <p:cNvSpPr/>
            <p:nvPr/>
          </p:nvSpPr>
          <p:spPr>
            <a:xfrm>
              <a:off x="1027225" y="2046074"/>
              <a:ext cx="1542946" cy="14855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017" rIns="34017" rtlCol="0" anchor="ctr" anchorCtr="0"/>
            <a:lstStyle/>
            <a:p>
              <a:pPr algn="ctr">
                <a:spcAft>
                  <a:spcPts val="567"/>
                </a:spcAft>
                <a:buClr>
                  <a:schemeClr val="tx1"/>
                </a:buClr>
                <a:defRPr/>
              </a:pPr>
              <a:endParaRPr lang="en-GB" sz="900" dirty="0">
                <a:solidFill>
                  <a:schemeClr val="tx1"/>
                </a:solidFill>
                <a:latin typeface="Manrope" pitchFamily="2" charset="0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C3CCBC7-FFA8-ABBA-6D16-A968BBD622D1}"/>
                </a:ext>
              </a:extLst>
            </p:cNvPr>
            <p:cNvGrpSpPr/>
            <p:nvPr/>
          </p:nvGrpSpPr>
          <p:grpSpPr>
            <a:xfrm>
              <a:off x="1109145" y="1993398"/>
              <a:ext cx="1426684" cy="1453820"/>
              <a:chOff x="1109145" y="1993398"/>
              <a:chExt cx="1426684" cy="1453820"/>
            </a:xfrm>
          </p:grpSpPr>
          <p:sp>
            <p:nvSpPr>
              <p:cNvPr id="19" name="Rechteck 85">
                <a:extLst>
                  <a:ext uri="{FF2B5EF4-FFF2-40B4-BE49-F238E27FC236}">
                    <a16:creationId xmlns:a16="http://schemas.microsoft.com/office/drawing/2014/main" id="{B1EF57BA-8C0A-4256-6D4D-105B2D2B381E}"/>
                  </a:ext>
                </a:extLst>
              </p:cNvPr>
              <p:cNvSpPr/>
              <p:nvPr/>
            </p:nvSpPr>
            <p:spPr>
              <a:xfrm>
                <a:off x="1142487" y="2753576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  <a:defRPr/>
                </a:pPr>
                <a:r>
                  <a:rPr lang="en-GB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Region</a:t>
                </a:r>
              </a:p>
            </p:txBody>
          </p:sp>
          <p:sp>
            <p:nvSpPr>
              <p:cNvPr id="20" name="Rechteck 87">
                <a:extLst>
                  <a:ext uri="{FF2B5EF4-FFF2-40B4-BE49-F238E27FC236}">
                    <a16:creationId xmlns:a16="http://schemas.microsoft.com/office/drawing/2014/main" id="{300971DF-89A4-45CD-3A3F-5E15F7D09CCE}"/>
                  </a:ext>
                </a:extLst>
              </p:cNvPr>
              <p:cNvSpPr/>
              <p:nvPr/>
            </p:nvSpPr>
            <p:spPr>
              <a:xfrm>
                <a:off x="1148877" y="2568933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  <a:defRPr/>
                </a:pPr>
                <a:r>
                  <a:rPr lang="en-GB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City</a:t>
                </a:r>
              </a:p>
            </p:txBody>
          </p:sp>
          <p:sp>
            <p:nvSpPr>
              <p:cNvPr id="21" name="Rechteck 89">
                <a:extLst>
                  <a:ext uri="{FF2B5EF4-FFF2-40B4-BE49-F238E27FC236}">
                    <a16:creationId xmlns:a16="http://schemas.microsoft.com/office/drawing/2014/main" id="{402944F0-A7D5-11A8-0EBF-F6C848916E9A}"/>
                  </a:ext>
                </a:extLst>
              </p:cNvPr>
              <p:cNvSpPr/>
              <p:nvPr/>
            </p:nvSpPr>
            <p:spPr>
              <a:xfrm>
                <a:off x="1147672" y="2199647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  <a:defRPr/>
                </a:pPr>
                <a:r>
                  <a:rPr lang="en-GB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Company Name</a:t>
                </a:r>
              </a:p>
            </p:txBody>
          </p:sp>
          <p:sp>
            <p:nvSpPr>
              <p:cNvPr id="22" name="Rechteck 90">
                <a:extLst>
                  <a:ext uri="{FF2B5EF4-FFF2-40B4-BE49-F238E27FC236}">
                    <a16:creationId xmlns:a16="http://schemas.microsoft.com/office/drawing/2014/main" id="{CA3616BC-86D9-13BA-2693-757767AE6839}"/>
                  </a:ext>
                </a:extLst>
              </p:cNvPr>
              <p:cNvSpPr/>
              <p:nvPr/>
            </p:nvSpPr>
            <p:spPr>
              <a:xfrm>
                <a:off x="1142487" y="2384290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  <a:defRPr/>
                </a:pPr>
                <a:r>
                  <a:rPr lang="en-GB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ZIP</a:t>
                </a:r>
              </a:p>
            </p:txBody>
          </p:sp>
          <p:sp>
            <p:nvSpPr>
              <p:cNvPr id="25" name="Rechteck 91">
                <a:extLst>
                  <a:ext uri="{FF2B5EF4-FFF2-40B4-BE49-F238E27FC236}">
                    <a16:creationId xmlns:a16="http://schemas.microsoft.com/office/drawing/2014/main" id="{E57B928C-8771-8A27-F5A3-3B5DB9B69836}"/>
                  </a:ext>
                </a:extLst>
              </p:cNvPr>
              <p:cNvSpPr/>
              <p:nvPr/>
            </p:nvSpPr>
            <p:spPr>
              <a:xfrm>
                <a:off x="1148877" y="2938219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  <a:defRPr/>
                </a:pPr>
                <a:r>
                  <a:rPr lang="en-GB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Country</a:t>
                </a:r>
              </a:p>
            </p:txBody>
          </p:sp>
          <p:sp>
            <p:nvSpPr>
              <p:cNvPr id="26" name="Rechteck 93">
                <a:extLst>
                  <a:ext uri="{FF2B5EF4-FFF2-40B4-BE49-F238E27FC236}">
                    <a16:creationId xmlns:a16="http://schemas.microsoft.com/office/drawing/2014/main" id="{3AA31858-D6B9-F6AC-EFED-0BC009A8ADEB}"/>
                  </a:ext>
                </a:extLst>
              </p:cNvPr>
              <p:cNvSpPr/>
              <p:nvPr/>
            </p:nvSpPr>
            <p:spPr>
              <a:xfrm>
                <a:off x="1142487" y="3122862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  <a:defRPr/>
                </a:pPr>
                <a:r>
                  <a:rPr lang="en-GB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E-Mail</a:t>
                </a:r>
              </a:p>
            </p:txBody>
          </p:sp>
          <p:sp>
            <p:nvSpPr>
              <p:cNvPr id="27" name="Textfeld 102">
                <a:extLst>
                  <a:ext uri="{FF2B5EF4-FFF2-40B4-BE49-F238E27FC236}">
                    <a16:creationId xmlns:a16="http://schemas.microsoft.com/office/drawing/2014/main" id="{5B6FD060-9F0B-0262-8F68-54B33C2E9454}"/>
                  </a:ext>
                </a:extLst>
              </p:cNvPr>
              <p:cNvSpPr txBox="1"/>
              <p:nvPr/>
            </p:nvSpPr>
            <p:spPr>
              <a:xfrm>
                <a:off x="1109145" y="1993398"/>
                <a:ext cx="1426684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914389"/>
                <a:r>
                  <a:rPr lang="en-US" sz="900" b="1" kern="0" dirty="0">
                    <a:solidFill>
                      <a:prstClr val="black"/>
                    </a:solidFill>
                    <a:latin typeface="Manrope" pitchFamily="2" charset="0"/>
                  </a:rPr>
                  <a:t>Add Company Data</a:t>
                </a:r>
              </a:p>
            </p:txBody>
          </p:sp>
          <p:sp>
            <p:nvSpPr>
              <p:cNvPr id="28" name="Rechteck 103">
                <a:extLst>
                  <a:ext uri="{FF2B5EF4-FFF2-40B4-BE49-F238E27FC236}">
                    <a16:creationId xmlns:a16="http://schemas.microsoft.com/office/drawing/2014/main" id="{703F3CB0-C1A0-496F-7C50-55A510F62FD7}"/>
                  </a:ext>
                </a:extLst>
              </p:cNvPr>
              <p:cNvSpPr/>
              <p:nvPr/>
            </p:nvSpPr>
            <p:spPr>
              <a:xfrm>
                <a:off x="1142487" y="3307505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</a:pPr>
                <a:r>
                  <a:rPr lang="de-DE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Legal Entity Identifier</a:t>
                </a:r>
              </a:p>
            </p:txBody>
          </p:sp>
        </p:grpSp>
      </p:grpSp>
      <p:sp>
        <p:nvSpPr>
          <p:cNvPr id="33" name="Rechteck 33">
            <a:extLst>
              <a:ext uri="{FF2B5EF4-FFF2-40B4-BE49-F238E27FC236}">
                <a16:creationId xmlns:a16="http://schemas.microsoft.com/office/drawing/2014/main" id="{10EE9B51-E9A9-8DE2-6055-07B7D600B633}"/>
              </a:ext>
            </a:extLst>
          </p:cNvPr>
          <p:cNvSpPr/>
          <p:nvPr/>
        </p:nvSpPr>
        <p:spPr>
          <a:xfrm>
            <a:off x="3167692" y="4119037"/>
            <a:ext cx="1717200" cy="1800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017" rIns="34017" rtlCol="0" anchor="ctr" anchorCtr="0"/>
          <a:lstStyle/>
          <a:p>
            <a:pPr algn="ctr">
              <a:spcAft>
                <a:spcPts val="567"/>
              </a:spcAft>
              <a:buClr>
                <a:schemeClr val="tx1"/>
              </a:buClr>
              <a:defRPr/>
            </a:pPr>
            <a:r>
              <a:rPr lang="en-GB" sz="900" dirty="0">
                <a:solidFill>
                  <a:schemeClr val="tx1"/>
                </a:solidFill>
                <a:latin typeface="Manrope" pitchFamily="2" charset="0"/>
              </a:rPr>
              <a:t>Accept Regulatory Framework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32C7AB3-BB3F-6856-941E-52BE2D2A4542}"/>
              </a:ext>
            </a:extLst>
          </p:cNvPr>
          <p:cNvSpPr txBox="1"/>
          <p:nvPr/>
        </p:nvSpPr>
        <p:spPr>
          <a:xfrm>
            <a:off x="506499" y="3020001"/>
            <a:ext cx="11119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CSP-B</a:t>
            </a:r>
          </a:p>
        </p:txBody>
      </p:sp>
      <p:sp>
        <p:nvSpPr>
          <p:cNvPr id="49" name="Rechteck 23">
            <a:extLst>
              <a:ext uri="{FF2B5EF4-FFF2-40B4-BE49-F238E27FC236}">
                <a16:creationId xmlns:a16="http://schemas.microsoft.com/office/drawing/2014/main" id="{B561266C-AB2E-9915-BFA9-F6D99E3DF426}"/>
              </a:ext>
            </a:extLst>
          </p:cNvPr>
          <p:cNvSpPr/>
          <p:nvPr/>
        </p:nvSpPr>
        <p:spPr>
          <a:xfrm>
            <a:off x="5442644" y="510114"/>
            <a:ext cx="1909392" cy="639725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algn="ctr" defTabSz="914389"/>
            <a:r>
              <a:rPr lang="en-US" sz="900" b="1" kern="0" dirty="0">
                <a:solidFill>
                  <a:prstClr val="black"/>
                </a:solidFill>
                <a:latin typeface="Manrope" pitchFamily="2" charset="0"/>
              </a:rPr>
              <a:t>Step 4:</a:t>
            </a:r>
            <a:br>
              <a:rPr lang="en-US" sz="900" kern="0" dirty="0">
                <a:solidFill>
                  <a:prstClr val="black"/>
                </a:solidFill>
                <a:latin typeface="Manrope" pitchFamily="2" charset="0"/>
              </a:rPr>
            </a:br>
            <a:endParaRPr lang="en-US" sz="900" kern="0" dirty="0">
              <a:solidFill>
                <a:prstClr val="black"/>
              </a:solidFill>
              <a:latin typeface="Manrope" pitchFamily="2" charset="0"/>
            </a:endParaRPr>
          </a:p>
          <a:p>
            <a:pPr algn="ctr" defTabSz="914389"/>
            <a:r>
              <a:rPr lang="en-US" sz="900" kern="0" dirty="0">
                <a:solidFill>
                  <a:prstClr val="black"/>
                </a:solidFill>
                <a:latin typeface="Manrope" pitchFamily="2" charset="0"/>
              </a:rPr>
              <a:t>Notification of validation</a:t>
            </a:r>
          </a:p>
          <a:p>
            <a:pPr algn="ctr" defTabSz="914389"/>
            <a:endParaRPr lang="en-US" sz="900" kern="0" dirty="0">
              <a:solidFill>
                <a:prstClr val="black"/>
              </a:solidFill>
              <a:latin typeface="Manrope" pitchFamily="2" charset="0"/>
            </a:endParaRPr>
          </a:p>
        </p:txBody>
      </p:sp>
      <p:sp>
        <p:nvSpPr>
          <p:cNvPr id="54" name="Rechteck 82">
            <a:extLst>
              <a:ext uri="{FF2B5EF4-FFF2-40B4-BE49-F238E27FC236}">
                <a16:creationId xmlns:a16="http://schemas.microsoft.com/office/drawing/2014/main" id="{4E6726DB-8873-4C7D-6FA9-096C65D284B9}"/>
              </a:ext>
            </a:extLst>
          </p:cNvPr>
          <p:cNvSpPr/>
          <p:nvPr/>
        </p:nvSpPr>
        <p:spPr>
          <a:xfrm>
            <a:off x="710608" y="516386"/>
            <a:ext cx="1908000" cy="1927882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algn="ctr" defTabSz="914389"/>
            <a:r>
              <a:rPr lang="en-US" sz="900" b="1" kern="0" dirty="0">
                <a:solidFill>
                  <a:prstClr val="black"/>
                </a:solidFill>
                <a:latin typeface="Manrope" pitchFamily="2" charset="0"/>
              </a:rPr>
              <a:t>Step1:</a:t>
            </a:r>
            <a:br>
              <a:rPr lang="en-US" sz="900" b="1" kern="0" dirty="0">
                <a:solidFill>
                  <a:prstClr val="black"/>
                </a:solidFill>
                <a:latin typeface="Manrope" pitchFamily="2" charset="0"/>
              </a:rPr>
            </a:br>
            <a:r>
              <a:rPr lang="en-US" sz="900" kern="0" dirty="0">
                <a:solidFill>
                  <a:prstClr val="black"/>
                </a:solidFill>
                <a:latin typeface="Manrope" pitchFamily="2" charset="0"/>
              </a:rPr>
              <a:t>Operating Company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AA3626D-1537-7A05-91B4-F22011EF98DF}"/>
              </a:ext>
            </a:extLst>
          </p:cNvPr>
          <p:cNvGrpSpPr/>
          <p:nvPr/>
        </p:nvGrpSpPr>
        <p:grpSpPr>
          <a:xfrm>
            <a:off x="893135" y="822292"/>
            <a:ext cx="1542946" cy="1538253"/>
            <a:chOff x="1027225" y="1993398"/>
            <a:chExt cx="1542946" cy="1538253"/>
          </a:xfrm>
        </p:grpSpPr>
        <p:sp>
          <p:nvSpPr>
            <p:cNvPr id="57" name="Rechteck 83">
              <a:extLst>
                <a:ext uri="{FF2B5EF4-FFF2-40B4-BE49-F238E27FC236}">
                  <a16:creationId xmlns:a16="http://schemas.microsoft.com/office/drawing/2014/main" id="{FCAD5ECA-B221-B258-5DD2-B81042CAEB76}"/>
                </a:ext>
              </a:extLst>
            </p:cNvPr>
            <p:cNvSpPr/>
            <p:nvPr/>
          </p:nvSpPr>
          <p:spPr>
            <a:xfrm>
              <a:off x="1027225" y="2046074"/>
              <a:ext cx="1542946" cy="14855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017" rIns="34017" rtlCol="0" anchor="ctr" anchorCtr="0"/>
            <a:lstStyle/>
            <a:p>
              <a:pPr algn="ctr">
                <a:spcAft>
                  <a:spcPts val="567"/>
                </a:spcAft>
                <a:buClr>
                  <a:schemeClr val="tx1"/>
                </a:buClr>
                <a:defRPr/>
              </a:pPr>
              <a:endParaRPr lang="en-GB" sz="900" dirty="0">
                <a:solidFill>
                  <a:schemeClr val="tx1"/>
                </a:solidFill>
                <a:latin typeface="Manrope" pitchFamily="2" charset="0"/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20502FE-A628-BAE7-8F54-C4CBF5D66D59}"/>
                </a:ext>
              </a:extLst>
            </p:cNvPr>
            <p:cNvGrpSpPr/>
            <p:nvPr/>
          </p:nvGrpSpPr>
          <p:grpSpPr>
            <a:xfrm>
              <a:off x="1109145" y="1993398"/>
              <a:ext cx="1426684" cy="1453820"/>
              <a:chOff x="1109145" y="1993398"/>
              <a:chExt cx="1426684" cy="1453820"/>
            </a:xfrm>
          </p:grpSpPr>
          <p:sp>
            <p:nvSpPr>
              <p:cNvPr id="60" name="Rechteck 85">
                <a:extLst>
                  <a:ext uri="{FF2B5EF4-FFF2-40B4-BE49-F238E27FC236}">
                    <a16:creationId xmlns:a16="http://schemas.microsoft.com/office/drawing/2014/main" id="{F9FAD4CA-557B-4CDD-92A5-0B1DDA5B28D5}"/>
                  </a:ext>
                </a:extLst>
              </p:cNvPr>
              <p:cNvSpPr/>
              <p:nvPr/>
            </p:nvSpPr>
            <p:spPr>
              <a:xfrm>
                <a:off x="1142487" y="2753576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  <a:defRPr/>
                </a:pPr>
                <a:r>
                  <a:rPr lang="en-GB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Region</a:t>
                </a:r>
              </a:p>
            </p:txBody>
          </p:sp>
          <p:sp>
            <p:nvSpPr>
              <p:cNvPr id="61" name="Rechteck 87">
                <a:extLst>
                  <a:ext uri="{FF2B5EF4-FFF2-40B4-BE49-F238E27FC236}">
                    <a16:creationId xmlns:a16="http://schemas.microsoft.com/office/drawing/2014/main" id="{040BADC4-B7B3-2568-1B43-CF7810034B39}"/>
                  </a:ext>
                </a:extLst>
              </p:cNvPr>
              <p:cNvSpPr/>
              <p:nvPr/>
            </p:nvSpPr>
            <p:spPr>
              <a:xfrm>
                <a:off x="1148877" y="2568933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  <a:defRPr/>
                </a:pPr>
                <a:r>
                  <a:rPr lang="en-GB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City</a:t>
                </a:r>
              </a:p>
            </p:txBody>
          </p:sp>
          <p:sp>
            <p:nvSpPr>
              <p:cNvPr id="62" name="Rechteck 89">
                <a:extLst>
                  <a:ext uri="{FF2B5EF4-FFF2-40B4-BE49-F238E27FC236}">
                    <a16:creationId xmlns:a16="http://schemas.microsoft.com/office/drawing/2014/main" id="{A18085C4-3144-F4AD-3DDC-1BF4C4CC321E}"/>
                  </a:ext>
                </a:extLst>
              </p:cNvPr>
              <p:cNvSpPr/>
              <p:nvPr/>
            </p:nvSpPr>
            <p:spPr>
              <a:xfrm>
                <a:off x="1147672" y="2199647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  <a:defRPr/>
                </a:pPr>
                <a:r>
                  <a:rPr lang="en-GB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Company Name</a:t>
                </a:r>
              </a:p>
            </p:txBody>
          </p:sp>
          <p:sp>
            <p:nvSpPr>
              <p:cNvPr id="63" name="Rechteck 90">
                <a:extLst>
                  <a:ext uri="{FF2B5EF4-FFF2-40B4-BE49-F238E27FC236}">
                    <a16:creationId xmlns:a16="http://schemas.microsoft.com/office/drawing/2014/main" id="{A245024F-AFF3-FFAC-58A7-D032B8A9DDFD}"/>
                  </a:ext>
                </a:extLst>
              </p:cNvPr>
              <p:cNvSpPr/>
              <p:nvPr/>
            </p:nvSpPr>
            <p:spPr>
              <a:xfrm>
                <a:off x="1142487" y="2384290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  <a:defRPr/>
                </a:pPr>
                <a:r>
                  <a:rPr lang="en-GB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ZIP</a:t>
                </a:r>
              </a:p>
            </p:txBody>
          </p:sp>
          <p:sp>
            <p:nvSpPr>
              <p:cNvPr id="64" name="Rechteck 91">
                <a:extLst>
                  <a:ext uri="{FF2B5EF4-FFF2-40B4-BE49-F238E27FC236}">
                    <a16:creationId xmlns:a16="http://schemas.microsoft.com/office/drawing/2014/main" id="{63DE109F-AB78-0D65-73A0-D32482105265}"/>
                  </a:ext>
                </a:extLst>
              </p:cNvPr>
              <p:cNvSpPr/>
              <p:nvPr/>
            </p:nvSpPr>
            <p:spPr>
              <a:xfrm>
                <a:off x="1148877" y="2938219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  <a:defRPr/>
                </a:pPr>
                <a:r>
                  <a:rPr lang="en-GB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Country</a:t>
                </a:r>
              </a:p>
            </p:txBody>
          </p:sp>
          <p:sp>
            <p:nvSpPr>
              <p:cNvPr id="65" name="Rechteck 93">
                <a:extLst>
                  <a:ext uri="{FF2B5EF4-FFF2-40B4-BE49-F238E27FC236}">
                    <a16:creationId xmlns:a16="http://schemas.microsoft.com/office/drawing/2014/main" id="{248F6DF3-0C27-FE67-B73F-82A9D4646342}"/>
                  </a:ext>
                </a:extLst>
              </p:cNvPr>
              <p:cNvSpPr/>
              <p:nvPr/>
            </p:nvSpPr>
            <p:spPr>
              <a:xfrm>
                <a:off x="1142487" y="3122862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  <a:defRPr/>
                </a:pPr>
                <a:r>
                  <a:rPr lang="en-GB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E-Mail</a:t>
                </a:r>
              </a:p>
            </p:txBody>
          </p:sp>
          <p:sp>
            <p:nvSpPr>
              <p:cNvPr id="66" name="Textfeld 102">
                <a:extLst>
                  <a:ext uri="{FF2B5EF4-FFF2-40B4-BE49-F238E27FC236}">
                    <a16:creationId xmlns:a16="http://schemas.microsoft.com/office/drawing/2014/main" id="{EBAE32A3-18B7-D290-CD35-C0E053452699}"/>
                  </a:ext>
                </a:extLst>
              </p:cNvPr>
              <p:cNvSpPr txBox="1"/>
              <p:nvPr/>
            </p:nvSpPr>
            <p:spPr>
              <a:xfrm>
                <a:off x="1109145" y="1993398"/>
                <a:ext cx="1426684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914389"/>
                <a:r>
                  <a:rPr lang="en-US" sz="900" b="1" kern="0" dirty="0">
                    <a:solidFill>
                      <a:prstClr val="black"/>
                    </a:solidFill>
                    <a:latin typeface="Manrope" pitchFamily="2" charset="0"/>
                  </a:rPr>
                  <a:t>Add Company Data</a:t>
                </a:r>
              </a:p>
            </p:txBody>
          </p:sp>
          <p:sp>
            <p:nvSpPr>
              <p:cNvPr id="67" name="Rechteck 103">
                <a:extLst>
                  <a:ext uri="{FF2B5EF4-FFF2-40B4-BE49-F238E27FC236}">
                    <a16:creationId xmlns:a16="http://schemas.microsoft.com/office/drawing/2014/main" id="{66E9736C-219B-D7DE-6CD3-2866A69EB4A7}"/>
                  </a:ext>
                </a:extLst>
              </p:cNvPr>
              <p:cNvSpPr/>
              <p:nvPr/>
            </p:nvSpPr>
            <p:spPr>
              <a:xfrm>
                <a:off x="1142487" y="3307505"/>
                <a:ext cx="1277944" cy="139713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4017" rIns="34017" rtlCol="0" anchor="ctr" anchorCtr="0"/>
              <a:lstStyle/>
              <a:p>
                <a:pPr algn="ctr">
                  <a:spcAft>
                    <a:spcPts val="567"/>
                  </a:spcAft>
                  <a:buClr>
                    <a:schemeClr val="tx1"/>
                  </a:buClr>
                </a:pPr>
                <a:r>
                  <a:rPr lang="de-DE" sz="900" dirty="0">
                    <a:solidFill>
                      <a:schemeClr val="tx2">
                        <a:lumMod val="50000"/>
                      </a:schemeClr>
                    </a:solidFill>
                    <a:latin typeface="Manrope" pitchFamily="2" charset="0"/>
                  </a:rPr>
                  <a:t>Legal Entity Identifier</a:t>
                </a:r>
              </a:p>
            </p:txBody>
          </p:sp>
        </p:grpSp>
      </p:grpSp>
      <p:sp>
        <p:nvSpPr>
          <p:cNvPr id="93" name="TextBox 92">
            <a:extLst>
              <a:ext uri="{FF2B5EF4-FFF2-40B4-BE49-F238E27FC236}">
                <a16:creationId xmlns:a16="http://schemas.microsoft.com/office/drawing/2014/main" id="{2FBC940A-2CAC-45E6-85A1-FDB9C6976BC7}"/>
              </a:ext>
            </a:extLst>
          </p:cNvPr>
          <p:cNvSpPr txBox="1"/>
          <p:nvPr/>
        </p:nvSpPr>
        <p:spPr>
          <a:xfrm>
            <a:off x="450135" y="181336"/>
            <a:ext cx="11119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OSP</a:t>
            </a:r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DC6AB077-6A13-952B-B84D-A6BA543F52B5}"/>
              </a:ext>
            </a:extLst>
          </p:cNvPr>
          <p:cNvCxnSpPr>
            <a:cxnSpLocks/>
            <a:stCxn id="106" idx="0"/>
            <a:endCxn id="37" idx="2"/>
          </p:cNvCxnSpPr>
          <p:nvPr/>
        </p:nvCxnSpPr>
        <p:spPr>
          <a:xfrm flipV="1">
            <a:off x="5287115" y="2612008"/>
            <a:ext cx="0" cy="411829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003EDB60-15AD-F1C7-290B-3194FC986FD2}"/>
              </a:ext>
            </a:extLst>
          </p:cNvPr>
          <p:cNvSpPr txBox="1"/>
          <p:nvPr/>
        </p:nvSpPr>
        <p:spPr>
          <a:xfrm>
            <a:off x="3609604" y="2677302"/>
            <a:ext cx="16775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IDP Integration (SSO)</a:t>
            </a:r>
          </a:p>
        </p:txBody>
      </p:sp>
      <p:cxnSp>
        <p:nvCxnSpPr>
          <p:cNvPr id="108" name="Gewinkelte Verbindung 186">
            <a:extLst>
              <a:ext uri="{FF2B5EF4-FFF2-40B4-BE49-F238E27FC236}">
                <a16:creationId xmlns:a16="http://schemas.microsoft.com/office/drawing/2014/main" id="{495B931C-C08C-3BCC-D51F-3922DA916163}"/>
              </a:ext>
            </a:extLst>
          </p:cNvPr>
          <p:cNvCxnSpPr>
            <a:cxnSpLocks/>
            <a:stCxn id="54" idx="3"/>
            <a:endCxn id="46" idx="1"/>
          </p:cNvCxnSpPr>
          <p:nvPr/>
        </p:nvCxnSpPr>
        <p:spPr>
          <a:xfrm>
            <a:off x="2618608" y="1480327"/>
            <a:ext cx="453684" cy="2633242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0287694C-E3C5-544A-880B-BBE76F1592D1}"/>
              </a:ext>
            </a:extLst>
          </p:cNvPr>
          <p:cNvSpPr txBox="1"/>
          <p:nvPr/>
        </p:nvSpPr>
        <p:spPr>
          <a:xfrm>
            <a:off x="2745646" y="1168254"/>
            <a:ext cx="1280359" cy="2616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Company Data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B668352-EF97-13A7-A74B-B0CAC7FC8ADA}"/>
              </a:ext>
            </a:extLst>
          </p:cNvPr>
          <p:cNvCxnSpPr>
            <a:cxnSpLocks/>
          </p:cNvCxnSpPr>
          <p:nvPr/>
        </p:nvCxnSpPr>
        <p:spPr>
          <a:xfrm>
            <a:off x="6402491" y="4821631"/>
            <a:ext cx="17942" cy="98618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145">
            <a:extLst>
              <a:ext uri="{FF2B5EF4-FFF2-40B4-BE49-F238E27FC236}">
                <a16:creationId xmlns:a16="http://schemas.microsoft.com/office/drawing/2014/main" id="{601575B9-C755-34D9-01D6-A1274F88D2EF}"/>
              </a:ext>
            </a:extLst>
          </p:cNvPr>
          <p:cNvSpPr/>
          <p:nvPr/>
        </p:nvSpPr>
        <p:spPr>
          <a:xfrm>
            <a:off x="7820154" y="3396140"/>
            <a:ext cx="1909392" cy="643686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 rtlCol="0" anchor="t"/>
          <a:lstStyle/>
          <a:p>
            <a:pPr algn="ctr" defTabSz="914389"/>
            <a:r>
              <a:rPr lang="en-US" sz="900" b="1" kern="0" dirty="0">
                <a:solidFill>
                  <a:prstClr val="black"/>
                </a:solidFill>
                <a:latin typeface="Manrope" pitchFamily="2" charset="0"/>
              </a:rPr>
              <a:t>Step 5:</a:t>
            </a:r>
            <a:br>
              <a:rPr lang="en-US" sz="900" b="1" kern="0" dirty="0">
                <a:solidFill>
                  <a:prstClr val="black"/>
                </a:solidFill>
                <a:latin typeface="Manrope" pitchFamily="2" charset="0"/>
              </a:rPr>
            </a:br>
            <a:endParaRPr lang="en-US" sz="900" b="1" kern="0" dirty="0">
              <a:solidFill>
                <a:prstClr val="black"/>
              </a:solidFill>
              <a:latin typeface="Manrope" pitchFamily="2" charset="0"/>
            </a:endParaRPr>
          </a:p>
          <a:p>
            <a:pPr algn="ctr" defTabSz="914389"/>
            <a:r>
              <a:rPr lang="en-US" sz="900" kern="0" dirty="0">
                <a:solidFill>
                  <a:prstClr val="black"/>
                </a:solidFill>
                <a:latin typeface="Manrope" pitchFamily="2" charset="0"/>
              </a:rPr>
              <a:t>Company successfully onboarded</a:t>
            </a:r>
            <a:endParaRPr lang="en-US" sz="900" b="1" kern="0" dirty="0">
              <a:solidFill>
                <a:prstClr val="black"/>
              </a:solidFill>
              <a:latin typeface="Manrope" pitchFamily="2" charset="0"/>
            </a:endParaRPr>
          </a:p>
        </p:txBody>
      </p:sp>
      <p:cxnSp>
        <p:nvCxnSpPr>
          <p:cNvPr id="86" name="Gerade Verbindung mit Pfeil 88">
            <a:extLst>
              <a:ext uri="{FF2B5EF4-FFF2-40B4-BE49-F238E27FC236}">
                <a16:creationId xmlns:a16="http://schemas.microsoft.com/office/drawing/2014/main" id="{B7D018B6-8693-182A-E905-32AA4B1C398B}"/>
              </a:ext>
            </a:extLst>
          </p:cNvPr>
          <p:cNvCxnSpPr>
            <a:cxnSpLocks/>
          </p:cNvCxnSpPr>
          <p:nvPr/>
        </p:nvCxnSpPr>
        <p:spPr>
          <a:xfrm>
            <a:off x="7352036" y="3822390"/>
            <a:ext cx="453661" cy="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FE6F467F-C7E6-AB61-08F8-3ED99C710AAC}"/>
              </a:ext>
            </a:extLst>
          </p:cNvPr>
          <p:cNvCxnSpPr>
            <a:cxnSpLocks/>
            <a:stCxn id="146" idx="2"/>
            <a:endCxn id="78" idx="0"/>
          </p:cNvCxnSpPr>
          <p:nvPr/>
        </p:nvCxnSpPr>
        <p:spPr>
          <a:xfrm>
            <a:off x="8774850" y="1149840"/>
            <a:ext cx="0" cy="224630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F765EDFE-8087-B75D-35EF-985FD49998A3}"/>
              </a:ext>
            </a:extLst>
          </p:cNvPr>
          <p:cNvCxnSpPr>
            <a:cxnSpLocks/>
            <a:stCxn id="49" idx="2"/>
            <a:endCxn id="24" idx="0"/>
          </p:cNvCxnSpPr>
          <p:nvPr/>
        </p:nvCxnSpPr>
        <p:spPr>
          <a:xfrm>
            <a:off x="6397340" y="1149839"/>
            <a:ext cx="0" cy="2247491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376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2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173213b-d6e6-4077-93de-fac7afb8733c">
      <Terms xmlns="http://schemas.microsoft.com/office/infopath/2007/PartnerControls"/>
    </lcf76f155ced4ddcb4097134ff3c332f>
    <TaxCatchAll xmlns="067b8054-3481-4999-9b89-5a9a3729820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6932D3EDDA8143B32FA8AD5C5501B9" ma:contentTypeVersion="12" ma:contentTypeDescription="Create a new document." ma:contentTypeScope="" ma:versionID="45651102af3a6ada6a20a4688d50b674">
  <xsd:schema xmlns:xsd="http://www.w3.org/2001/XMLSchema" xmlns:xs="http://www.w3.org/2001/XMLSchema" xmlns:p="http://schemas.microsoft.com/office/2006/metadata/properties" xmlns:ns2="e173213b-d6e6-4077-93de-fac7afb8733c" xmlns:ns3="067b8054-3481-4999-9b89-5a9a3729820c" targetNamespace="http://schemas.microsoft.com/office/2006/metadata/properties" ma:root="true" ma:fieldsID="ee6f4aaf04d1e7f65d6882bd950b6e44" ns2:_="" ns3:_="">
    <xsd:import namespace="e173213b-d6e6-4077-93de-fac7afb8733c"/>
    <xsd:import namespace="067b8054-3481-4999-9b89-5a9a3729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73213b-d6e6-4077-93de-fac7afb873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51ef69f-b95c-4ae8-865a-c403d19ff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b8054-3481-4999-9b89-5a9a3729820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7ef3ca2-985a-45de-9c4c-1141e191c108}" ma:internalName="TaxCatchAll" ma:showField="CatchAllData" ma:web="067b8054-3481-4999-9b89-5a9a3729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C92D651-CF17-458D-BAB0-968B56BA4133}">
  <ds:schemaRefs>
    <ds:schemaRef ds:uri="067b8054-3481-4999-9b89-5a9a3729820c"/>
    <ds:schemaRef ds:uri="5a227215-964f-4a25-9d8e-8f9bac637ca9"/>
    <ds:schemaRef ds:uri="d7dd674e-4de6-433a-8f64-01f564a0183e"/>
    <ds:schemaRef ds:uri="e173213b-d6e6-4077-93de-fac7afb8733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2FF7FA1-5388-41BF-8FE9-A9A4A91139FC}">
  <ds:schemaRefs>
    <ds:schemaRef ds:uri="067b8054-3481-4999-9b89-5a9a3729820c"/>
    <ds:schemaRef ds:uri="e173213b-d6e6-4077-93de-fac7afb873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7F7475D-D88E-43AF-984A-75F02EC940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11203_2_Catena-X_PPT_Vorlage</Template>
  <TotalTime>0</TotalTime>
  <Words>275</Words>
  <Application>Microsoft Office PowerPoint</Application>
  <PresentationFormat>Custom</PresentationFormat>
  <Paragraphs>100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Manrope</vt:lpstr>
      <vt:lpstr>ui-sans-serif</vt:lpstr>
      <vt:lpstr>Wingdings</vt:lpstr>
      <vt:lpstr>Catena-X PowerPoint Master</vt:lpstr>
      <vt:lpstr>Catena-X PowerPoint Master</vt:lpstr>
      <vt:lpstr>think-cell Foli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die Überschrift der Präsentation</dc:title>
  <dc:creator>Schilcher, Helen</dc:creator>
  <cp:lastModifiedBy>Werner Roman FRD FIEA</cp:lastModifiedBy>
  <cp:revision>11</cp:revision>
  <cp:lastPrinted>2023-09-25T09:17:58Z</cp:lastPrinted>
  <dcterms:created xsi:type="dcterms:W3CDTF">2021-12-08T08:40:32Z</dcterms:created>
  <dcterms:modified xsi:type="dcterms:W3CDTF">2024-06-21T11:4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294a1c8-9899-41e7-8f6e-8b1b3c79592a_Enabled">
    <vt:lpwstr>true</vt:lpwstr>
  </property>
  <property fmtid="{D5CDD505-2E9C-101B-9397-08002B2CF9AE}" pid="3" name="MSIP_Label_7294a1c8-9899-41e7-8f6e-8b1b3c79592a_Name">
    <vt:lpwstr>Internal sub2 (no marking)</vt:lpwstr>
  </property>
  <property fmtid="{D5CDD505-2E9C-101B-9397-08002B2CF9AE}" pid="4" name="MSIP_Label_7294a1c8-9899-41e7-8f6e-8b1b3c79592a_Method">
    <vt:lpwstr>Privileged</vt:lpwstr>
  </property>
  <property fmtid="{D5CDD505-2E9C-101B-9397-08002B2CF9AE}" pid="5" name="MSIP_Label_7294a1c8-9899-41e7-8f6e-8b1b3c79592a_SetDate">
    <vt:lpwstr>2022-10-12T17:25:59Z</vt:lpwstr>
  </property>
  <property fmtid="{D5CDD505-2E9C-101B-9397-08002B2CF9AE}" pid="6" name="MSIP_Label_7294a1c8-9899-41e7-8f6e-8b1b3c79592a_ActionId">
    <vt:lpwstr>8e3a4931-6d70-4069-9dee-2ffb7d7eda15</vt:lpwstr>
  </property>
  <property fmtid="{D5CDD505-2E9C-101B-9397-08002B2CF9AE}" pid="7" name="MSIP_Label_7294a1c8-9899-41e7-8f6e-8b1b3c79592a_ContentBits">
    <vt:lpwstr>0</vt:lpwstr>
  </property>
  <property fmtid="{D5CDD505-2E9C-101B-9397-08002B2CF9AE}" pid="8" name="MSIP_Label_7294a1c8-9899-41e7-8f6e-8b1b3c79592a_SiteId">
    <vt:lpwstr>eb70b763-b6d7-4486-8555-8831709a784e</vt:lpwstr>
  </property>
  <property fmtid="{D5CDD505-2E9C-101B-9397-08002B2CF9AE}" pid="9" name="ContentTypeId">
    <vt:lpwstr>0x0101000B6932D3EDDA8143B32FA8AD5C5501B9</vt:lpwstr>
  </property>
  <property fmtid="{D5CDD505-2E9C-101B-9397-08002B2CF9AE}" pid="10" name="MediaServiceImageTags">
    <vt:lpwstr/>
  </property>
</Properties>
</file>